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embedTrueTypeFonts="1">
  <p:sldMasterIdLst>
    <p:sldMasterId id="2147483672" r:id="rId1"/>
  </p:sldMasterIdLst>
  <p:notesMasterIdLst>
    <p:notesMasterId r:id="rId17"/>
  </p:notesMasterIdLst>
  <p:sldIdLst>
    <p:sldId id="256" r:id="rId2"/>
    <p:sldId id="261" r:id="rId3"/>
    <p:sldId id="293" r:id="rId4"/>
    <p:sldId id="289" r:id="rId5"/>
    <p:sldId id="295" r:id="rId6"/>
    <p:sldId id="291" r:id="rId7"/>
    <p:sldId id="281" r:id="rId8"/>
    <p:sldId id="298" r:id="rId9"/>
    <p:sldId id="292" r:id="rId10"/>
    <p:sldId id="287" r:id="rId11"/>
    <p:sldId id="284" r:id="rId12"/>
    <p:sldId id="296" r:id="rId13"/>
    <p:sldId id="294" r:id="rId14"/>
    <p:sldId id="283" r:id="rId15"/>
    <p:sldId id="297" r:id="rId16"/>
  </p:sldIdLst>
  <p:sldSz cx="9144000" cy="6858000" type="screen4x3"/>
  <p:notesSz cx="6797675" cy="9926638"/>
  <p:embeddedFontLst>
    <p:embeddedFont>
      <p:font typeface="Technika" panose="020B0604020202020204" charset="-18"/>
      <p:regular r:id="rId18"/>
      <p:bold r:id="rId19"/>
      <p:italic r:id="rId20"/>
      <p:boldItalic r:id="rId21"/>
    </p:embeddedFont>
    <p:embeddedFont>
      <p:font typeface="Calibri" panose="020F0502020204030204" pitchFamily="34" charset="0"/>
      <p:regular r:id="rId22"/>
      <p:bold r:id="rId23"/>
      <p:italic r:id="rId24"/>
      <p:boldItalic r:id="rId25"/>
    </p:embeddedFont>
    <p:embeddedFont>
      <p:font typeface="Technika-Bold" panose="00000600000000000000" charset="-18"/>
      <p:regular r:id="rId26"/>
    </p:embeddedFont>
  </p:embeddedFontLst>
  <p:custDataLst>
    <p:tags r:id="rId27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07" userDrawn="1">
          <p15:clr>
            <a:srgbClr val="A4A3A4"/>
          </p15:clr>
        </p15:guide>
        <p15:guide id="2" pos="2857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472C4"/>
    <a:srgbClr val="9B9B9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497" autoAdjust="0"/>
    <p:restoredTop sz="94660"/>
  </p:normalViewPr>
  <p:slideViewPr>
    <p:cSldViewPr snapToGrid="0" snapToObjects="1">
      <p:cViewPr varScale="1">
        <p:scale>
          <a:sx n="71" d="100"/>
          <a:sy n="71" d="100"/>
        </p:scale>
        <p:origin x="1482" y="60"/>
      </p:cViewPr>
      <p:guideLst>
        <p:guide orient="horz" pos="1207"/>
        <p:guide pos="2857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font" Target="fonts/font1.fntdata"/><Relationship Id="rId26" Type="http://schemas.openxmlformats.org/officeDocument/2006/relationships/font" Target="fonts/font9.fntdata"/><Relationship Id="rId3" Type="http://schemas.openxmlformats.org/officeDocument/2006/relationships/slide" Target="slides/slide2.xml"/><Relationship Id="rId21" Type="http://schemas.openxmlformats.org/officeDocument/2006/relationships/font" Target="fonts/font4.fntdata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5" Type="http://schemas.openxmlformats.org/officeDocument/2006/relationships/font" Target="fonts/font8.fntdata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font" Target="fonts/font3.fntdata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7.fntdata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font" Target="fonts/font6.fntdata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font" Target="fonts/font2.fntdata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font" Target="fonts/font5.fntdata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62799A2-967B-4B6D-8BF4-047FB8CEA12E}" type="datetimeFigureOut">
              <a:rPr lang="cs-CZ" smtClean="0"/>
              <a:t>3.5.2017</a:t>
            </a:fld>
            <a:endParaRPr lang="cs-CZ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65225" y="1241425"/>
            <a:ext cx="44672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cs-C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52C11A7-7AF1-4518-86F0-D8E17514D66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771074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jp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ázek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b="9095"/>
          <a:stretch/>
        </p:blipFill>
        <p:spPr>
          <a:xfrm>
            <a:off x="0" y="2"/>
            <a:ext cx="10076688" cy="686888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080000" y="1800001"/>
            <a:ext cx="7736694" cy="1446663"/>
          </a:xfrm>
        </p:spPr>
        <p:txBody>
          <a:bodyPr anchor="t"/>
          <a:lstStyle>
            <a:lvl1pPr algn="l">
              <a:defRPr lang="cs-CZ" sz="4800" b="1" i="0" u="none" strike="noStrike" kern="4800" baseline="0" smtClean="0">
                <a:solidFill>
                  <a:schemeClr val="bg1"/>
                </a:solidFill>
                <a:latin typeface="Technika-Bold" panose="00000600000000000000" pitchFamily="50" charset="-18"/>
              </a:defRPr>
            </a:lvl1pPr>
          </a:lstStyle>
          <a:p>
            <a:r>
              <a:rPr lang="cs-CZ" sz="4800" b="1" i="0" u="none" strike="noStrike" baseline="0" dirty="0">
                <a:latin typeface="Technika-Bold" panose="00000600000000000000" pitchFamily="50" charset="-18"/>
              </a:rPr>
              <a:t>TITUL PREZENTACE</a:t>
            </a:r>
            <a:br>
              <a:rPr lang="cs-CZ" sz="4800" b="1" i="0" u="none" strike="noStrike" baseline="0" dirty="0">
                <a:latin typeface="Technika-Bold" panose="00000600000000000000" pitchFamily="50" charset="-18"/>
              </a:rPr>
            </a:br>
            <a:r>
              <a:rPr lang="cs-CZ" sz="4800" b="1" i="0" u="none" strike="noStrike" baseline="0" dirty="0">
                <a:latin typeface="Technika-Bold" panose="00000600000000000000" pitchFamily="50" charset="-18"/>
              </a:rPr>
              <a:t>PODTITUL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80000" y="3441732"/>
            <a:ext cx="7736693" cy="1771721"/>
          </a:xfrm>
        </p:spPr>
        <p:txBody>
          <a:bodyPr/>
          <a:lstStyle>
            <a:lvl1pPr marL="0" indent="0" algn="l">
              <a:buNone/>
              <a:defRPr lang="cs-CZ" sz="2400" b="1" i="0" u="none" strike="noStrike" kern="2800" baseline="0" smtClean="0">
                <a:solidFill>
                  <a:schemeClr val="bg1"/>
                </a:solidFill>
                <a:latin typeface="Technika-Bold" panose="00000600000000000000" pitchFamily="50" charset="-18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cs-CZ" dirty="0"/>
              <a:t>NÁZEV FAKULTY A PRACOVIŠTĚ</a:t>
            </a:r>
            <a:r>
              <a:rPr lang="en-US" dirty="0"/>
              <a:t/>
            </a:r>
            <a:br>
              <a:rPr lang="en-US" dirty="0"/>
            </a:br>
            <a:r>
              <a:rPr lang="cs-CZ" dirty="0"/>
              <a:t>AUTOR/TITUL JMÉNO PŘÍJMENÍ</a:t>
            </a:r>
            <a:r>
              <a:rPr lang="en-US" dirty="0"/>
              <a:t/>
            </a:r>
            <a:br>
              <a:rPr lang="en-US" dirty="0"/>
            </a:br>
            <a:r>
              <a:rPr lang="cs-CZ" dirty="0"/>
              <a:t>DATUM</a:t>
            </a:r>
          </a:p>
        </p:txBody>
      </p:sp>
      <p:pic>
        <p:nvPicPr>
          <p:cNvPr id="5" name="Obrázek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003" y="274320"/>
            <a:ext cx="1773814" cy="863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7904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12742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4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9256" b="9239"/>
          <a:stretch/>
        </p:blipFill>
        <p:spPr>
          <a:xfrm>
            <a:off x="0" y="2"/>
            <a:ext cx="9144000" cy="6857999"/>
          </a:xfrm>
          <a:custGeom>
            <a:avLst/>
            <a:gdLst>
              <a:gd name="connsiteX0" fmla="*/ 0 w 9144000"/>
              <a:gd name="connsiteY0" fmla="*/ 0 h 6857999"/>
              <a:gd name="connsiteX1" fmla="*/ 9144000 w 9144000"/>
              <a:gd name="connsiteY1" fmla="*/ 0 h 6857999"/>
              <a:gd name="connsiteX2" fmla="*/ 9144000 w 9144000"/>
              <a:gd name="connsiteY2" fmla="*/ 6857999 h 6857999"/>
              <a:gd name="connsiteX3" fmla="*/ 0 w 9144000"/>
              <a:gd name="connsiteY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6857999">
                <a:moveTo>
                  <a:pt x="0" y="0"/>
                </a:moveTo>
                <a:lnTo>
                  <a:pt x="9144000" y="0"/>
                </a:lnTo>
                <a:lnTo>
                  <a:pt x="9144000" y="6857999"/>
                </a:lnTo>
                <a:lnTo>
                  <a:pt x="0" y="6857999"/>
                </a:lnTo>
                <a:close/>
              </a:path>
            </a:pathLst>
          </a:custGeom>
        </p:spPr>
      </p:pic>
      <p:pic>
        <p:nvPicPr>
          <p:cNvPr id="7" name="Picture 2" descr="https://www.email.cz/download/i/J_cdaADwWifiayZrAXd9jpkdWor_gYe_4QlhA3zsTzSB0jpv76wY4UUYT-LRJNvubDBn-to/logo_cvut.jp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001" y="274320"/>
            <a:ext cx="1770611" cy="8634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080000" y="1800001"/>
            <a:ext cx="7736694" cy="1446663"/>
          </a:xfrm>
        </p:spPr>
        <p:txBody>
          <a:bodyPr anchor="t"/>
          <a:lstStyle>
            <a:lvl1pPr algn="l">
              <a:defRPr lang="cs-CZ" sz="4800" b="1" i="0" u="none" strike="noStrike" kern="4800" baseline="0" smtClean="0">
                <a:solidFill>
                  <a:schemeClr val="tx1"/>
                </a:solidFill>
                <a:latin typeface="Technika-Bold" panose="00000600000000000000" pitchFamily="50" charset="-18"/>
              </a:defRPr>
            </a:lvl1pPr>
          </a:lstStyle>
          <a:p>
            <a:r>
              <a:rPr lang="cs-CZ" sz="4800" b="1" i="0" u="none" strike="noStrike" baseline="0" dirty="0">
                <a:latin typeface="Technika-Bold" panose="00000600000000000000" pitchFamily="50" charset="-18"/>
              </a:rPr>
              <a:t>TITUL PREZENTACE</a:t>
            </a:r>
            <a:br>
              <a:rPr lang="cs-CZ" sz="4800" b="1" i="0" u="none" strike="noStrike" baseline="0" dirty="0">
                <a:latin typeface="Technika-Bold" panose="00000600000000000000" pitchFamily="50" charset="-18"/>
              </a:rPr>
            </a:br>
            <a:r>
              <a:rPr lang="cs-CZ" sz="4800" b="1" i="0" u="none" strike="noStrike" baseline="0" dirty="0">
                <a:latin typeface="Technika-Bold" panose="00000600000000000000" pitchFamily="50" charset="-18"/>
              </a:rPr>
              <a:t>PODTITUL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80000" y="3441732"/>
            <a:ext cx="7736693" cy="1771721"/>
          </a:xfrm>
        </p:spPr>
        <p:txBody>
          <a:bodyPr/>
          <a:lstStyle>
            <a:lvl1pPr marL="0" indent="0" algn="l">
              <a:buNone/>
              <a:defRPr lang="cs-CZ" sz="2400" b="1" i="0" u="none" strike="noStrike" kern="2800" baseline="0" smtClean="0">
                <a:solidFill>
                  <a:schemeClr val="tx1"/>
                </a:solidFill>
                <a:latin typeface="Technika-Bold" panose="00000600000000000000" pitchFamily="50" charset="-18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cs-CZ" dirty="0"/>
              <a:t>NÁZEV FAKULTY A PRACOVIŠTĚ</a:t>
            </a:r>
            <a:r>
              <a:rPr lang="en-US" dirty="0"/>
              <a:t/>
            </a:r>
            <a:br>
              <a:rPr lang="en-US" dirty="0"/>
            </a:br>
            <a:r>
              <a:rPr lang="cs-CZ" dirty="0"/>
              <a:t>AUTOR/TITUL JMÉNO PŘÍJMENÍ</a:t>
            </a:r>
            <a:r>
              <a:rPr lang="en-US" dirty="0"/>
              <a:t/>
            </a:r>
            <a:br>
              <a:rPr lang="en-US" dirty="0"/>
            </a:br>
            <a:r>
              <a:rPr lang="cs-CZ" dirty="0"/>
              <a:t>DATUM</a:t>
            </a:r>
          </a:p>
        </p:txBody>
      </p:sp>
    </p:spTree>
    <p:extLst>
      <p:ext uri="{BB962C8B-B14F-4D97-AF65-F5344CB8AC3E}">
        <p14:creationId xmlns:p14="http://schemas.microsoft.com/office/powerpoint/2010/main" val="105716719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80000" y="1800000"/>
            <a:ext cx="7794000" cy="1087934"/>
          </a:xfrm>
        </p:spPr>
        <p:txBody>
          <a:bodyPr anchor="t"/>
          <a:lstStyle>
            <a:lvl1pPr>
              <a:defRPr sz="2800" kern="2800" baseline="0">
                <a:latin typeface="Technika-Bold" panose="00000600000000000000" pitchFamily="50" charset="-18"/>
              </a:defRPr>
            </a:lvl1pPr>
          </a:lstStyle>
          <a:p>
            <a:r>
              <a:rPr lang="cs-CZ" dirty="0"/>
              <a:t>PODTITUL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079999" y="3059766"/>
            <a:ext cx="7794000" cy="3528000"/>
          </a:xfrm>
        </p:spPr>
        <p:txBody>
          <a:bodyPr>
            <a:normAutofit/>
          </a:bodyPr>
          <a:lstStyle>
            <a:lvl1pPr marL="0" indent="0">
              <a:buNone/>
              <a:defRPr sz="2000" kern="3000" baseline="0">
                <a:latin typeface="Technika-Bold" panose="00000600000000000000" pitchFamily="50" charset="-18"/>
              </a:defRPr>
            </a:lvl1pPr>
          </a:lstStyle>
          <a:p>
            <a:pPr lvl="0"/>
            <a:r>
              <a:rPr lang="cs-CZ" dirty="0"/>
              <a:t>VLOŽIT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8480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177198" y="1800001"/>
            <a:ext cx="7696800" cy="4788000"/>
          </a:xfrm>
        </p:spPr>
        <p:txBody>
          <a:bodyPr>
            <a:normAutofit/>
          </a:bodyPr>
          <a:lstStyle>
            <a:lvl1pPr marL="0" indent="0">
              <a:buNone/>
              <a:defRPr sz="2000" kern="3000" baseline="0">
                <a:latin typeface="Technika-Bold" panose="00000600000000000000" pitchFamily="50" charset="-18"/>
              </a:defRPr>
            </a:lvl1pPr>
          </a:lstStyle>
          <a:p>
            <a:pPr lvl="0"/>
            <a:r>
              <a:rPr lang="cs-CZ" dirty="0"/>
              <a:t>VLOŽIT OBRÁZE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41999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/>
          <p:cNvSpPr/>
          <p:nvPr userDrawn="1"/>
        </p:nvSpPr>
        <p:spPr>
          <a:xfrm>
            <a:off x="2067641" y="368300"/>
            <a:ext cx="6888707" cy="1228488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70000" y="270000"/>
            <a:ext cx="8604000" cy="6318000"/>
          </a:xfrm>
        </p:spPr>
        <p:txBody>
          <a:bodyPr>
            <a:normAutofit/>
          </a:bodyPr>
          <a:lstStyle>
            <a:lvl1pPr marL="0" indent="0" algn="ctr">
              <a:buNone/>
              <a:defRPr sz="2000" kern="3000" baseline="0">
                <a:latin typeface="Technika-Bold" panose="00000600000000000000" pitchFamily="50" charset="-18"/>
              </a:defRPr>
            </a:lvl1pPr>
          </a:lstStyle>
          <a:p>
            <a:pPr lvl="0"/>
            <a:r>
              <a:rPr lang="cs-CZ" dirty="0"/>
              <a:t>VLOŽIT OBRÁZE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073347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2.jpe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5036225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4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80000" y="1440000"/>
            <a:ext cx="77940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80000" y="2880000"/>
            <a:ext cx="7794000" cy="3708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Upravte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  <a:endParaRPr lang="en-US" dirty="0"/>
          </a:p>
        </p:txBody>
      </p:sp>
      <p:pic>
        <p:nvPicPr>
          <p:cNvPr id="1026" name="Picture 2" descr="https://www.email.cz/download/i/J_cdaADwWifiayZrAXd9jpkdWor_gYe_4QlhA3zsTzSB0jpv76wY4UUYT-LRJNvubDBn-to/logo_cvut.jp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001" y="274320"/>
            <a:ext cx="1770611" cy="8634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 userDrawn="1"/>
        </p:nvSpPr>
        <p:spPr>
          <a:xfrm>
            <a:off x="270001" y="6368156"/>
            <a:ext cx="405020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 smtClean="0"/>
              <a:t>CASA</a:t>
            </a:r>
            <a:r>
              <a:rPr lang="cs-CZ" sz="1400" baseline="0" dirty="0" smtClean="0"/>
              <a:t> </a:t>
            </a:r>
            <a:r>
              <a:rPr lang="cs-CZ" sz="1400" dirty="0" smtClean="0"/>
              <a:t>Meeting; May</a:t>
            </a:r>
            <a:r>
              <a:rPr lang="cs-CZ" sz="1400" baseline="0" dirty="0" smtClean="0"/>
              <a:t> 4, 2017</a:t>
            </a:r>
            <a:endParaRPr lang="cs-CZ" sz="1400" dirty="0"/>
          </a:p>
        </p:txBody>
      </p:sp>
      <p:sp>
        <p:nvSpPr>
          <p:cNvPr id="7" name="TextBox 6"/>
          <p:cNvSpPr txBox="1"/>
          <p:nvPr userDrawn="1"/>
        </p:nvSpPr>
        <p:spPr>
          <a:xfrm>
            <a:off x="6369340" y="6368156"/>
            <a:ext cx="250466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cs-CZ" sz="1400" dirty="0" err="1" smtClean="0"/>
              <a:t>Slide</a:t>
            </a:r>
            <a:r>
              <a:rPr lang="cs-CZ" sz="1400" dirty="0" smtClean="0"/>
              <a:t> </a:t>
            </a:r>
            <a:fld id="{72775F78-C73D-4CBF-9655-388C65220E8D}" type="slidenum">
              <a:rPr lang="cs-CZ" sz="1400" smtClean="0"/>
              <a:t>‹#›</a:t>
            </a:fld>
            <a:endParaRPr lang="cs-CZ" sz="1400" dirty="0"/>
          </a:p>
        </p:txBody>
      </p:sp>
    </p:spTree>
    <p:extLst>
      <p:ext uri="{BB962C8B-B14F-4D97-AF65-F5344CB8AC3E}">
        <p14:creationId xmlns:p14="http://schemas.microsoft.com/office/powerpoint/2010/main" val="6354365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86" r:id="rId2"/>
    <p:sldLayoutId id="2147483674" r:id="rId3"/>
    <p:sldLayoutId id="2147483685" r:id="rId4"/>
    <p:sldLayoutId id="2147483684" r:id="rId5"/>
  </p:sldLayoutIdLst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Technika-Bold" panose="00000600000000000000" pitchFamily="50" charset="-18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32" userDrawn="1">
          <p15:clr>
            <a:srgbClr val="F26B43"/>
          </p15:clr>
        </p15:guide>
        <p15:guide id="2" pos="131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117.xml"/><Relationship Id="rId2" Type="http://schemas.openxmlformats.org/officeDocument/2006/relationships/tags" Target="../tags/tag116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119.xml"/><Relationship Id="rId7" Type="http://schemas.openxmlformats.org/officeDocument/2006/relationships/image" Target="../media/image10.emf"/><Relationship Id="rId2" Type="http://schemas.openxmlformats.org/officeDocument/2006/relationships/tags" Target="../tags/tag11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121.xml"/><Relationship Id="rId7" Type="http://schemas.openxmlformats.org/officeDocument/2006/relationships/image" Target="../media/image10.emf"/><Relationship Id="rId2" Type="http://schemas.openxmlformats.org/officeDocument/2006/relationships/tags" Target="../tags/tag12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123.xml"/><Relationship Id="rId2" Type="http://schemas.openxmlformats.org/officeDocument/2006/relationships/tags" Target="../tags/tag122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125.xml"/><Relationship Id="rId7" Type="http://schemas.openxmlformats.org/officeDocument/2006/relationships/image" Target="../media/image10.emf"/><Relationship Id="rId2" Type="http://schemas.openxmlformats.org/officeDocument/2006/relationships/tags" Target="../tags/tag124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26" Type="http://schemas.openxmlformats.org/officeDocument/2006/relationships/tags" Target="../tags/tag32.xml"/><Relationship Id="rId21" Type="http://schemas.openxmlformats.org/officeDocument/2006/relationships/tags" Target="../tags/tag27.xml"/><Relationship Id="rId42" Type="http://schemas.openxmlformats.org/officeDocument/2006/relationships/tags" Target="../tags/tag48.xml"/><Relationship Id="rId47" Type="http://schemas.openxmlformats.org/officeDocument/2006/relationships/tags" Target="../tags/tag53.xml"/><Relationship Id="rId63" Type="http://schemas.openxmlformats.org/officeDocument/2006/relationships/tags" Target="../tags/tag69.xml"/><Relationship Id="rId68" Type="http://schemas.openxmlformats.org/officeDocument/2006/relationships/tags" Target="../tags/tag74.xml"/><Relationship Id="rId84" Type="http://schemas.openxmlformats.org/officeDocument/2006/relationships/tags" Target="../tags/tag90.xml"/><Relationship Id="rId89" Type="http://schemas.openxmlformats.org/officeDocument/2006/relationships/tags" Target="../tags/tag95.xml"/><Relationship Id="rId16" Type="http://schemas.openxmlformats.org/officeDocument/2006/relationships/tags" Target="../tags/tag22.xml"/><Relationship Id="rId107" Type="http://schemas.openxmlformats.org/officeDocument/2006/relationships/tags" Target="../tags/tag113.xml"/><Relationship Id="rId11" Type="http://schemas.openxmlformats.org/officeDocument/2006/relationships/tags" Target="../tags/tag17.xml"/><Relationship Id="rId32" Type="http://schemas.openxmlformats.org/officeDocument/2006/relationships/tags" Target="../tags/tag38.xml"/><Relationship Id="rId37" Type="http://schemas.openxmlformats.org/officeDocument/2006/relationships/tags" Target="../tags/tag43.xml"/><Relationship Id="rId53" Type="http://schemas.openxmlformats.org/officeDocument/2006/relationships/tags" Target="../tags/tag59.xml"/><Relationship Id="rId58" Type="http://schemas.openxmlformats.org/officeDocument/2006/relationships/tags" Target="../tags/tag64.xml"/><Relationship Id="rId74" Type="http://schemas.openxmlformats.org/officeDocument/2006/relationships/tags" Target="../tags/tag80.xml"/><Relationship Id="rId79" Type="http://schemas.openxmlformats.org/officeDocument/2006/relationships/tags" Target="../tags/tag85.xml"/><Relationship Id="rId102" Type="http://schemas.openxmlformats.org/officeDocument/2006/relationships/tags" Target="../tags/tag108.xml"/><Relationship Id="rId5" Type="http://schemas.openxmlformats.org/officeDocument/2006/relationships/tags" Target="../tags/tag11.xml"/><Relationship Id="rId90" Type="http://schemas.openxmlformats.org/officeDocument/2006/relationships/tags" Target="../tags/tag96.xml"/><Relationship Id="rId95" Type="http://schemas.openxmlformats.org/officeDocument/2006/relationships/tags" Target="../tags/tag101.xml"/><Relationship Id="rId22" Type="http://schemas.openxmlformats.org/officeDocument/2006/relationships/tags" Target="../tags/tag28.xml"/><Relationship Id="rId27" Type="http://schemas.openxmlformats.org/officeDocument/2006/relationships/tags" Target="../tags/tag33.xml"/><Relationship Id="rId43" Type="http://schemas.openxmlformats.org/officeDocument/2006/relationships/tags" Target="../tags/tag49.xml"/><Relationship Id="rId48" Type="http://schemas.openxmlformats.org/officeDocument/2006/relationships/tags" Target="../tags/tag54.xml"/><Relationship Id="rId64" Type="http://schemas.openxmlformats.org/officeDocument/2006/relationships/tags" Target="../tags/tag70.xml"/><Relationship Id="rId69" Type="http://schemas.openxmlformats.org/officeDocument/2006/relationships/tags" Target="../tags/tag75.xml"/><Relationship Id="rId80" Type="http://schemas.openxmlformats.org/officeDocument/2006/relationships/tags" Target="../tags/tag86.xml"/><Relationship Id="rId85" Type="http://schemas.openxmlformats.org/officeDocument/2006/relationships/tags" Target="../tags/tag91.xml"/><Relationship Id="rId12" Type="http://schemas.openxmlformats.org/officeDocument/2006/relationships/tags" Target="../tags/tag18.xml"/><Relationship Id="rId17" Type="http://schemas.openxmlformats.org/officeDocument/2006/relationships/tags" Target="../tags/tag23.xml"/><Relationship Id="rId33" Type="http://schemas.openxmlformats.org/officeDocument/2006/relationships/tags" Target="../tags/tag39.xml"/><Relationship Id="rId38" Type="http://schemas.openxmlformats.org/officeDocument/2006/relationships/tags" Target="../tags/tag44.xml"/><Relationship Id="rId59" Type="http://schemas.openxmlformats.org/officeDocument/2006/relationships/tags" Target="../tags/tag65.xml"/><Relationship Id="rId103" Type="http://schemas.openxmlformats.org/officeDocument/2006/relationships/tags" Target="../tags/tag109.xml"/><Relationship Id="rId108" Type="http://schemas.openxmlformats.org/officeDocument/2006/relationships/slideLayout" Target="../slideLayouts/slideLayout3.xml"/><Relationship Id="rId54" Type="http://schemas.openxmlformats.org/officeDocument/2006/relationships/tags" Target="../tags/tag60.xml"/><Relationship Id="rId70" Type="http://schemas.openxmlformats.org/officeDocument/2006/relationships/tags" Target="../tags/tag76.xml"/><Relationship Id="rId75" Type="http://schemas.openxmlformats.org/officeDocument/2006/relationships/tags" Target="../tags/tag81.xml"/><Relationship Id="rId91" Type="http://schemas.openxmlformats.org/officeDocument/2006/relationships/tags" Target="../tags/tag97.xml"/><Relationship Id="rId96" Type="http://schemas.openxmlformats.org/officeDocument/2006/relationships/tags" Target="../tags/tag102.xml"/><Relationship Id="rId1" Type="http://schemas.openxmlformats.org/officeDocument/2006/relationships/vmlDrawing" Target="../drawings/vmlDrawing5.vml"/><Relationship Id="rId6" Type="http://schemas.openxmlformats.org/officeDocument/2006/relationships/tags" Target="../tags/tag12.xml"/><Relationship Id="rId15" Type="http://schemas.openxmlformats.org/officeDocument/2006/relationships/tags" Target="../tags/tag21.xml"/><Relationship Id="rId23" Type="http://schemas.openxmlformats.org/officeDocument/2006/relationships/tags" Target="../tags/tag29.xml"/><Relationship Id="rId28" Type="http://schemas.openxmlformats.org/officeDocument/2006/relationships/tags" Target="../tags/tag34.xml"/><Relationship Id="rId36" Type="http://schemas.openxmlformats.org/officeDocument/2006/relationships/tags" Target="../tags/tag42.xml"/><Relationship Id="rId49" Type="http://schemas.openxmlformats.org/officeDocument/2006/relationships/tags" Target="../tags/tag55.xml"/><Relationship Id="rId57" Type="http://schemas.openxmlformats.org/officeDocument/2006/relationships/tags" Target="../tags/tag63.xml"/><Relationship Id="rId106" Type="http://schemas.openxmlformats.org/officeDocument/2006/relationships/tags" Target="../tags/tag112.xml"/><Relationship Id="rId10" Type="http://schemas.openxmlformats.org/officeDocument/2006/relationships/tags" Target="../tags/tag16.xml"/><Relationship Id="rId31" Type="http://schemas.openxmlformats.org/officeDocument/2006/relationships/tags" Target="../tags/tag37.xml"/><Relationship Id="rId44" Type="http://schemas.openxmlformats.org/officeDocument/2006/relationships/tags" Target="../tags/tag50.xml"/><Relationship Id="rId52" Type="http://schemas.openxmlformats.org/officeDocument/2006/relationships/tags" Target="../tags/tag58.xml"/><Relationship Id="rId60" Type="http://schemas.openxmlformats.org/officeDocument/2006/relationships/tags" Target="../tags/tag66.xml"/><Relationship Id="rId65" Type="http://schemas.openxmlformats.org/officeDocument/2006/relationships/tags" Target="../tags/tag71.xml"/><Relationship Id="rId73" Type="http://schemas.openxmlformats.org/officeDocument/2006/relationships/tags" Target="../tags/tag79.xml"/><Relationship Id="rId78" Type="http://schemas.openxmlformats.org/officeDocument/2006/relationships/tags" Target="../tags/tag84.xml"/><Relationship Id="rId81" Type="http://schemas.openxmlformats.org/officeDocument/2006/relationships/tags" Target="../tags/tag87.xml"/><Relationship Id="rId86" Type="http://schemas.openxmlformats.org/officeDocument/2006/relationships/tags" Target="../tags/tag92.xml"/><Relationship Id="rId94" Type="http://schemas.openxmlformats.org/officeDocument/2006/relationships/tags" Target="../tags/tag100.xml"/><Relationship Id="rId99" Type="http://schemas.openxmlformats.org/officeDocument/2006/relationships/tags" Target="../tags/tag105.xml"/><Relationship Id="rId101" Type="http://schemas.openxmlformats.org/officeDocument/2006/relationships/tags" Target="../tags/tag107.xml"/><Relationship Id="rId4" Type="http://schemas.openxmlformats.org/officeDocument/2006/relationships/tags" Target="../tags/tag10.xml"/><Relationship Id="rId9" Type="http://schemas.openxmlformats.org/officeDocument/2006/relationships/tags" Target="../tags/tag15.xml"/><Relationship Id="rId13" Type="http://schemas.openxmlformats.org/officeDocument/2006/relationships/tags" Target="../tags/tag19.xml"/><Relationship Id="rId18" Type="http://schemas.openxmlformats.org/officeDocument/2006/relationships/tags" Target="../tags/tag24.xml"/><Relationship Id="rId39" Type="http://schemas.openxmlformats.org/officeDocument/2006/relationships/tags" Target="../tags/tag45.xml"/><Relationship Id="rId109" Type="http://schemas.openxmlformats.org/officeDocument/2006/relationships/oleObject" Target="../embeddings/oleObject5.bin"/><Relationship Id="rId34" Type="http://schemas.openxmlformats.org/officeDocument/2006/relationships/tags" Target="../tags/tag40.xml"/><Relationship Id="rId50" Type="http://schemas.openxmlformats.org/officeDocument/2006/relationships/tags" Target="../tags/tag56.xml"/><Relationship Id="rId55" Type="http://schemas.openxmlformats.org/officeDocument/2006/relationships/tags" Target="../tags/tag61.xml"/><Relationship Id="rId76" Type="http://schemas.openxmlformats.org/officeDocument/2006/relationships/tags" Target="../tags/tag82.xml"/><Relationship Id="rId97" Type="http://schemas.openxmlformats.org/officeDocument/2006/relationships/tags" Target="../tags/tag103.xml"/><Relationship Id="rId104" Type="http://schemas.openxmlformats.org/officeDocument/2006/relationships/tags" Target="../tags/tag110.xml"/><Relationship Id="rId7" Type="http://schemas.openxmlformats.org/officeDocument/2006/relationships/tags" Target="../tags/tag13.xml"/><Relationship Id="rId71" Type="http://schemas.openxmlformats.org/officeDocument/2006/relationships/tags" Target="../tags/tag77.xml"/><Relationship Id="rId92" Type="http://schemas.openxmlformats.org/officeDocument/2006/relationships/tags" Target="../tags/tag98.xml"/><Relationship Id="rId2" Type="http://schemas.openxmlformats.org/officeDocument/2006/relationships/tags" Target="../tags/tag8.xml"/><Relationship Id="rId29" Type="http://schemas.openxmlformats.org/officeDocument/2006/relationships/tags" Target="../tags/tag35.xml"/><Relationship Id="rId24" Type="http://schemas.openxmlformats.org/officeDocument/2006/relationships/tags" Target="../tags/tag30.xml"/><Relationship Id="rId40" Type="http://schemas.openxmlformats.org/officeDocument/2006/relationships/tags" Target="../tags/tag46.xml"/><Relationship Id="rId45" Type="http://schemas.openxmlformats.org/officeDocument/2006/relationships/tags" Target="../tags/tag51.xml"/><Relationship Id="rId66" Type="http://schemas.openxmlformats.org/officeDocument/2006/relationships/tags" Target="../tags/tag72.xml"/><Relationship Id="rId87" Type="http://schemas.openxmlformats.org/officeDocument/2006/relationships/tags" Target="../tags/tag93.xml"/><Relationship Id="rId110" Type="http://schemas.openxmlformats.org/officeDocument/2006/relationships/image" Target="../media/image1.emf"/><Relationship Id="rId61" Type="http://schemas.openxmlformats.org/officeDocument/2006/relationships/tags" Target="../tags/tag67.xml"/><Relationship Id="rId82" Type="http://schemas.openxmlformats.org/officeDocument/2006/relationships/tags" Target="../tags/tag88.xml"/><Relationship Id="rId19" Type="http://schemas.openxmlformats.org/officeDocument/2006/relationships/tags" Target="../tags/tag25.xml"/><Relationship Id="rId14" Type="http://schemas.openxmlformats.org/officeDocument/2006/relationships/tags" Target="../tags/tag20.xml"/><Relationship Id="rId30" Type="http://schemas.openxmlformats.org/officeDocument/2006/relationships/tags" Target="../tags/tag36.xml"/><Relationship Id="rId35" Type="http://schemas.openxmlformats.org/officeDocument/2006/relationships/tags" Target="../tags/tag41.xml"/><Relationship Id="rId56" Type="http://schemas.openxmlformats.org/officeDocument/2006/relationships/tags" Target="../tags/tag62.xml"/><Relationship Id="rId77" Type="http://schemas.openxmlformats.org/officeDocument/2006/relationships/tags" Target="../tags/tag83.xml"/><Relationship Id="rId100" Type="http://schemas.openxmlformats.org/officeDocument/2006/relationships/tags" Target="../tags/tag106.xml"/><Relationship Id="rId105" Type="http://schemas.openxmlformats.org/officeDocument/2006/relationships/tags" Target="../tags/tag111.xml"/><Relationship Id="rId8" Type="http://schemas.openxmlformats.org/officeDocument/2006/relationships/tags" Target="../tags/tag14.xml"/><Relationship Id="rId51" Type="http://schemas.openxmlformats.org/officeDocument/2006/relationships/tags" Target="../tags/tag57.xml"/><Relationship Id="rId72" Type="http://schemas.openxmlformats.org/officeDocument/2006/relationships/tags" Target="../tags/tag78.xml"/><Relationship Id="rId93" Type="http://schemas.openxmlformats.org/officeDocument/2006/relationships/tags" Target="../tags/tag99.xml"/><Relationship Id="rId98" Type="http://schemas.openxmlformats.org/officeDocument/2006/relationships/tags" Target="../tags/tag104.xml"/><Relationship Id="rId3" Type="http://schemas.openxmlformats.org/officeDocument/2006/relationships/tags" Target="../tags/tag9.xml"/><Relationship Id="rId25" Type="http://schemas.openxmlformats.org/officeDocument/2006/relationships/tags" Target="../tags/tag31.xml"/><Relationship Id="rId46" Type="http://schemas.openxmlformats.org/officeDocument/2006/relationships/tags" Target="../tags/tag52.xml"/><Relationship Id="rId67" Type="http://schemas.openxmlformats.org/officeDocument/2006/relationships/tags" Target="../tags/tag73.xml"/><Relationship Id="rId20" Type="http://schemas.openxmlformats.org/officeDocument/2006/relationships/tags" Target="../tags/tag26.xml"/><Relationship Id="rId41" Type="http://schemas.openxmlformats.org/officeDocument/2006/relationships/tags" Target="../tags/tag47.xml"/><Relationship Id="rId62" Type="http://schemas.openxmlformats.org/officeDocument/2006/relationships/tags" Target="../tags/tag68.xml"/><Relationship Id="rId83" Type="http://schemas.openxmlformats.org/officeDocument/2006/relationships/tags" Target="../tags/tag89.xml"/><Relationship Id="rId88" Type="http://schemas.openxmlformats.org/officeDocument/2006/relationships/tags" Target="../tags/tag9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15.xml"/><Relationship Id="rId2" Type="http://schemas.openxmlformats.org/officeDocument/2006/relationships/tags" Target="../tags/tag114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1080000" y="1800001"/>
            <a:ext cx="7736694" cy="1993284"/>
          </a:xfrm>
        </p:spPr>
        <p:txBody>
          <a:bodyPr anchor="b">
            <a:normAutofit/>
          </a:bodyPr>
          <a:lstStyle/>
          <a:p>
            <a:r>
              <a:rPr lang="en-US" dirty="0" smtClean="0"/>
              <a:t>Project CASA:</a:t>
            </a:r>
            <a:br>
              <a:rPr lang="en-US" dirty="0" smtClean="0"/>
            </a:br>
            <a:r>
              <a:rPr lang="cs-CZ" dirty="0" smtClean="0"/>
              <a:t>Status update – </a:t>
            </a:r>
            <a:r>
              <a:rPr lang="cs-CZ" dirty="0" err="1" smtClean="0"/>
              <a:t>week</a:t>
            </a:r>
            <a:r>
              <a:rPr lang="cs-CZ" dirty="0" smtClean="0"/>
              <a:t> 11</a:t>
            </a:r>
            <a:endParaRPr lang="cs-CZ" dirty="0"/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>
            <a:noAutofit/>
          </a:bodyPr>
          <a:lstStyle/>
          <a:p>
            <a:endParaRPr lang="cs-CZ" dirty="0" smtClean="0"/>
          </a:p>
          <a:p>
            <a:r>
              <a:rPr lang="cs-CZ" dirty="0" err="1" smtClean="0"/>
              <a:t>Supporting</a:t>
            </a:r>
            <a:r>
              <a:rPr lang="cs-CZ" dirty="0" smtClean="0"/>
              <a:t> </a:t>
            </a:r>
            <a:r>
              <a:rPr lang="cs-CZ" dirty="0" err="1" smtClean="0"/>
              <a:t>Document</a:t>
            </a:r>
            <a:r>
              <a:rPr lang="cs-CZ" dirty="0" smtClean="0"/>
              <a:t> </a:t>
            </a:r>
            <a:r>
              <a:rPr lang="en-US" dirty="0" smtClean="0"/>
              <a:t>for first </a:t>
            </a:r>
            <a:r>
              <a:rPr lang="en-US" dirty="0" err="1" smtClean="0"/>
              <a:t>SteerCo</a:t>
            </a:r>
            <a:r>
              <a:rPr lang="en-US" dirty="0" smtClean="0"/>
              <a:t> Meeting</a:t>
            </a:r>
            <a:endParaRPr lang="cs-CZ" dirty="0" smtClean="0"/>
          </a:p>
          <a:p>
            <a:r>
              <a:rPr lang="cs-CZ" dirty="0" smtClean="0"/>
              <a:t>May 4, 2017</a:t>
            </a:r>
            <a:endParaRPr lang="en-US" dirty="0" smtClean="0"/>
          </a:p>
          <a:p>
            <a:endParaRPr lang="en-US" dirty="0" smtClean="0"/>
          </a:p>
          <a:p>
            <a:endParaRPr lang="en-US" sz="1200" dirty="0" smtClean="0"/>
          </a:p>
          <a:p>
            <a:endParaRPr lang="cs-CZ" sz="1200" dirty="0" smtClean="0"/>
          </a:p>
          <a:p>
            <a:endParaRPr lang="cs-CZ" sz="1200" dirty="0"/>
          </a:p>
          <a:p>
            <a:endParaRPr lang="en-US" sz="1200" dirty="0"/>
          </a:p>
          <a:p>
            <a:r>
              <a:rPr lang="en-US" sz="1100" b="0" dirty="0" err="1" smtClean="0"/>
              <a:t>Yevgeniya</a:t>
            </a:r>
            <a:r>
              <a:rPr lang="en-US" sz="1100" b="0" dirty="0" smtClean="0"/>
              <a:t> </a:t>
            </a:r>
            <a:r>
              <a:rPr lang="en-US" sz="1100" b="0" dirty="0" err="1"/>
              <a:t>Chekh</a:t>
            </a:r>
            <a:r>
              <a:rPr lang="en-US" sz="1100" b="0" dirty="0"/>
              <a:t>, Jan </a:t>
            </a:r>
            <a:r>
              <a:rPr lang="en-US" sz="1100" b="0" dirty="0" err="1"/>
              <a:t>Kohout</a:t>
            </a:r>
            <a:r>
              <a:rPr lang="en-US" sz="1100" b="0" dirty="0"/>
              <a:t>, David </a:t>
            </a:r>
            <a:r>
              <a:rPr lang="en-US" sz="1100" b="0" dirty="0" err="1"/>
              <a:t>Löffler</a:t>
            </a:r>
            <a:r>
              <a:rPr lang="en-US" sz="1100" b="0" dirty="0"/>
              <a:t>, </a:t>
            </a:r>
            <a:r>
              <a:rPr lang="cs-CZ" sz="1100" b="0" dirty="0" smtClean="0"/>
              <a:t>Miroslav </a:t>
            </a:r>
            <a:r>
              <a:rPr lang="cs-CZ" sz="1100" b="0" dirty="0" err="1" smtClean="0"/>
              <a:t>Rudišin</a:t>
            </a:r>
            <a:r>
              <a:rPr lang="cs-CZ" sz="1100" b="0" dirty="0" smtClean="0"/>
              <a:t>, </a:t>
            </a:r>
            <a:r>
              <a:rPr lang="en-US" sz="1100" b="0" dirty="0" err="1" smtClean="0"/>
              <a:t>Kryštof</a:t>
            </a:r>
            <a:r>
              <a:rPr lang="en-US" sz="1100" b="0" dirty="0" smtClean="0"/>
              <a:t> </a:t>
            </a:r>
            <a:r>
              <a:rPr lang="en-US" sz="1100" b="0" dirty="0" err="1"/>
              <a:t>Sýkora</a:t>
            </a:r>
            <a:r>
              <a:rPr lang="en-US" sz="1100" b="0" dirty="0"/>
              <a:t>, Marek Szeles, Ho Minh Thanh</a:t>
            </a:r>
            <a:endParaRPr lang="cs-CZ" sz="1100" b="0" dirty="0" smtClean="0"/>
          </a:p>
        </p:txBody>
      </p:sp>
    </p:spTree>
    <p:extLst>
      <p:ext uri="{BB962C8B-B14F-4D97-AF65-F5344CB8AC3E}">
        <p14:creationId xmlns:p14="http://schemas.microsoft.com/office/powerpoint/2010/main" val="1844520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49708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6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Development</a:t>
            </a:r>
            <a:r>
              <a:rPr lang="cs-CZ" dirty="0" smtClean="0"/>
              <a:t> </a:t>
            </a:r>
            <a:r>
              <a:rPr lang="cs-CZ" dirty="0" err="1" smtClean="0"/>
              <a:t>progress</a:t>
            </a:r>
            <a:endParaRPr lang="cs-CZ" dirty="0"/>
          </a:p>
        </p:txBody>
      </p:sp>
      <p:grpSp>
        <p:nvGrpSpPr>
          <p:cNvPr id="6" name="Group 5"/>
          <p:cNvGrpSpPr/>
          <p:nvPr/>
        </p:nvGrpSpPr>
        <p:grpSpPr>
          <a:xfrm>
            <a:off x="574026" y="2274115"/>
            <a:ext cx="7944642" cy="4105951"/>
            <a:chOff x="574026" y="2395138"/>
            <a:chExt cx="7944642" cy="4105951"/>
          </a:xfrm>
        </p:grpSpPr>
        <p:sp>
          <p:nvSpPr>
            <p:cNvPr id="4" name="Rectangle 3"/>
            <p:cNvSpPr/>
            <p:nvPr/>
          </p:nvSpPr>
          <p:spPr>
            <a:xfrm>
              <a:off x="3806638" y="2395138"/>
              <a:ext cx="1457699" cy="648929"/>
            </a:xfrm>
            <a:prstGeom prst="rect">
              <a:avLst/>
            </a:prstGeom>
            <a:solidFill>
              <a:srgbClr val="4472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400" dirty="0" smtClean="0"/>
                <a:t>CASA</a:t>
              </a:r>
              <a:endParaRPr lang="en-US" sz="2400" dirty="0"/>
            </a:p>
          </p:txBody>
        </p:sp>
        <p:sp>
          <p:nvSpPr>
            <p:cNvPr id="113" name="Rectangle 112"/>
            <p:cNvSpPr/>
            <p:nvPr/>
          </p:nvSpPr>
          <p:spPr>
            <a:xfrm>
              <a:off x="2778038" y="4000835"/>
              <a:ext cx="1457699" cy="549042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o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4" name="Rectangle 113"/>
            <p:cNvSpPr/>
            <p:nvPr/>
          </p:nvSpPr>
          <p:spPr>
            <a:xfrm>
              <a:off x="7060968" y="4651239"/>
              <a:ext cx="1457699" cy="549042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clude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5" name="Rectangle 114"/>
            <p:cNvSpPr/>
            <p:nvPr/>
          </p:nvSpPr>
          <p:spPr>
            <a:xfrm>
              <a:off x="7060968" y="4000835"/>
              <a:ext cx="1457699" cy="549042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olver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6" name="Rectangle 115"/>
            <p:cNvSpPr/>
            <p:nvPr/>
          </p:nvSpPr>
          <p:spPr>
            <a:xfrm>
              <a:off x="4919504" y="4000835"/>
              <a:ext cx="1457699" cy="549042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osix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7" name="Rectangle 116"/>
            <p:cNvSpPr/>
            <p:nvPr/>
          </p:nvSpPr>
          <p:spPr>
            <a:xfrm>
              <a:off x="4919504" y="4651239"/>
              <a:ext cx="1457699" cy="549042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utility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8" name="Rectangle 117"/>
            <p:cNvSpPr/>
            <p:nvPr/>
          </p:nvSpPr>
          <p:spPr>
            <a:xfrm>
              <a:off x="2778038" y="4651239"/>
              <a:ext cx="1457699" cy="549042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at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9" name="Rectangle 118"/>
            <p:cNvSpPr/>
            <p:nvPr/>
          </p:nvSpPr>
          <p:spPr>
            <a:xfrm>
              <a:off x="2778038" y="5301643"/>
              <a:ext cx="1457699" cy="549042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earch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0" name="Rectangle 119"/>
            <p:cNvSpPr/>
            <p:nvPr/>
          </p:nvSpPr>
          <p:spPr>
            <a:xfrm>
              <a:off x="969047" y="4000835"/>
              <a:ext cx="1457699" cy="549042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lgorithms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1" name="Rectangle 120"/>
            <p:cNvSpPr/>
            <p:nvPr/>
          </p:nvSpPr>
          <p:spPr>
            <a:xfrm>
              <a:off x="969047" y="4651239"/>
              <a:ext cx="1457699" cy="549042"/>
            </a:xfrm>
            <a:prstGeom prst="rect">
              <a:avLst/>
            </a:prstGeom>
            <a:solidFill>
              <a:schemeClr val="accent4"/>
            </a:solidFill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nnealing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2" name="Rectangle 121"/>
            <p:cNvSpPr/>
            <p:nvPr/>
          </p:nvSpPr>
          <p:spPr>
            <a:xfrm>
              <a:off x="969047" y="5301643"/>
              <a:ext cx="1457699" cy="549042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vering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9" name="Rectangle 128"/>
            <p:cNvSpPr/>
            <p:nvPr/>
          </p:nvSpPr>
          <p:spPr>
            <a:xfrm>
              <a:off x="969047" y="5952047"/>
              <a:ext cx="1457699" cy="549042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vents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3" name="Rectangle 132"/>
            <p:cNvSpPr/>
            <p:nvPr/>
          </p:nvSpPr>
          <p:spPr>
            <a:xfrm>
              <a:off x="3026369" y="5952047"/>
              <a:ext cx="1209368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6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ain.C</a:t>
              </a:r>
              <a:endParaRPr lang="en-US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15" name="Elbow Connector 14"/>
            <p:cNvCxnSpPr>
              <a:stCxn id="4" idx="2"/>
              <a:endCxn id="110" idx="0"/>
            </p:cNvCxnSpPr>
            <p:nvPr/>
          </p:nvCxnSpPr>
          <p:spPr>
            <a:xfrm rot="5400000">
              <a:off x="3396385" y="2111440"/>
              <a:ext cx="206477" cy="2071731"/>
            </a:xfrm>
            <a:prstGeom prst="bentConnector3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4" name="Elbow Connector 133"/>
            <p:cNvCxnSpPr>
              <a:stCxn id="111" idx="0"/>
              <a:endCxn id="4" idx="2"/>
            </p:cNvCxnSpPr>
            <p:nvPr/>
          </p:nvCxnSpPr>
          <p:spPr>
            <a:xfrm rot="16200000" flipV="1">
              <a:off x="4922454" y="2657102"/>
              <a:ext cx="206477" cy="980408"/>
            </a:xfrm>
            <a:prstGeom prst="bentConnector3">
              <a:avLst>
                <a:gd name="adj1" fmla="val 50000"/>
              </a:avLst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7" name="Elbow Connector 136"/>
            <p:cNvCxnSpPr>
              <a:stCxn id="112" idx="0"/>
              <a:endCxn id="4" idx="2"/>
            </p:cNvCxnSpPr>
            <p:nvPr/>
          </p:nvCxnSpPr>
          <p:spPr>
            <a:xfrm rot="16200000" flipV="1">
              <a:off x="5993187" y="1586369"/>
              <a:ext cx="206477" cy="3121874"/>
            </a:xfrm>
            <a:prstGeom prst="bentConnector3">
              <a:avLst>
                <a:gd name="adj1" fmla="val 50000"/>
              </a:avLst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8" name="Elbow Connector 137"/>
            <p:cNvCxnSpPr>
              <a:stCxn id="27" idx="2"/>
              <a:endCxn id="120" idx="1"/>
            </p:cNvCxnSpPr>
            <p:nvPr/>
          </p:nvCxnSpPr>
          <p:spPr>
            <a:xfrm rot="16200000" flipH="1">
              <a:off x="711788" y="4018097"/>
              <a:ext cx="375882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88" name="Group 87"/>
            <p:cNvGrpSpPr/>
            <p:nvPr/>
          </p:nvGrpSpPr>
          <p:grpSpPr>
            <a:xfrm>
              <a:off x="691777" y="3250544"/>
              <a:ext cx="3543960" cy="648930"/>
              <a:chOff x="691777" y="3250544"/>
              <a:chExt cx="3543960" cy="648930"/>
            </a:xfrm>
          </p:grpSpPr>
          <p:sp>
            <p:nvSpPr>
              <p:cNvPr id="110" name="Rectangle 109"/>
              <p:cNvSpPr/>
              <p:nvPr/>
            </p:nvSpPr>
            <p:spPr>
              <a:xfrm>
                <a:off x="691777" y="3250544"/>
                <a:ext cx="3543960" cy="648929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2400" b="1" dirty="0" smtClean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asa</a:t>
                </a:r>
                <a:endParaRPr lang="en-US" sz="2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7" name="Rectangle 26"/>
              <p:cNvSpPr/>
              <p:nvPr/>
            </p:nvSpPr>
            <p:spPr>
              <a:xfrm>
                <a:off x="691777" y="3604506"/>
                <a:ext cx="277270" cy="294968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39" name="Rectangle 138"/>
              <p:cNvSpPr/>
              <p:nvPr/>
            </p:nvSpPr>
            <p:spPr>
              <a:xfrm>
                <a:off x="2500768" y="3604506"/>
                <a:ext cx="277270" cy="294968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140" name="Elbow Connector 139"/>
            <p:cNvCxnSpPr>
              <a:stCxn id="139" idx="2"/>
              <a:endCxn id="113" idx="1"/>
            </p:cNvCxnSpPr>
            <p:nvPr/>
          </p:nvCxnSpPr>
          <p:spPr>
            <a:xfrm rot="16200000" flipH="1">
              <a:off x="2520779" y="4018097"/>
              <a:ext cx="375882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87" name="Group 86"/>
            <p:cNvGrpSpPr/>
            <p:nvPr/>
          </p:nvGrpSpPr>
          <p:grpSpPr>
            <a:xfrm>
              <a:off x="4654590" y="3250544"/>
              <a:ext cx="1722612" cy="648930"/>
              <a:chOff x="4654590" y="3250544"/>
              <a:chExt cx="1722612" cy="648930"/>
            </a:xfrm>
          </p:grpSpPr>
          <p:sp>
            <p:nvSpPr>
              <p:cNvPr id="111" name="Rectangle 110"/>
              <p:cNvSpPr/>
              <p:nvPr/>
            </p:nvSpPr>
            <p:spPr>
              <a:xfrm>
                <a:off x="4654590" y="3250544"/>
                <a:ext cx="1722612" cy="648929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2400" b="1" dirty="0" smtClean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ommon</a:t>
                </a:r>
                <a:endParaRPr lang="en-US" sz="2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1" name="Rectangle 140"/>
              <p:cNvSpPr/>
              <p:nvPr/>
            </p:nvSpPr>
            <p:spPr>
              <a:xfrm>
                <a:off x="4655009" y="3604506"/>
                <a:ext cx="277270" cy="294968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86" name="Group 85"/>
            <p:cNvGrpSpPr/>
            <p:nvPr/>
          </p:nvGrpSpPr>
          <p:grpSpPr>
            <a:xfrm>
              <a:off x="6796056" y="3250544"/>
              <a:ext cx="1722612" cy="648930"/>
              <a:chOff x="6796056" y="3250544"/>
              <a:chExt cx="1722612" cy="648930"/>
            </a:xfrm>
            <a:solidFill>
              <a:schemeClr val="accent6"/>
            </a:solidFill>
          </p:grpSpPr>
          <p:sp>
            <p:nvSpPr>
              <p:cNvPr id="112" name="Rectangle 111"/>
              <p:cNvSpPr/>
              <p:nvPr/>
            </p:nvSpPr>
            <p:spPr>
              <a:xfrm>
                <a:off x="6796056" y="3250544"/>
                <a:ext cx="1722612" cy="648929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2400" b="1" dirty="0" err="1" smtClean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minisat</a:t>
                </a:r>
                <a:endParaRPr lang="en-US" sz="2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2" name="Rectangle 141"/>
              <p:cNvSpPr/>
              <p:nvPr/>
            </p:nvSpPr>
            <p:spPr>
              <a:xfrm>
                <a:off x="6796056" y="3604506"/>
                <a:ext cx="277270" cy="294968"/>
              </a:xfrm>
              <a:prstGeom prst="rect">
                <a:avLst/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143" name="Elbow Connector 142"/>
            <p:cNvCxnSpPr>
              <a:stCxn id="139" idx="2"/>
              <a:endCxn id="118" idx="1"/>
            </p:cNvCxnSpPr>
            <p:nvPr/>
          </p:nvCxnSpPr>
          <p:spPr>
            <a:xfrm rot="16200000" flipH="1">
              <a:off x="2195577" y="4343299"/>
              <a:ext cx="1026286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5" name="Elbow Connector 144"/>
            <p:cNvCxnSpPr>
              <a:stCxn id="139" idx="2"/>
              <a:endCxn id="119" idx="1"/>
            </p:cNvCxnSpPr>
            <p:nvPr/>
          </p:nvCxnSpPr>
          <p:spPr>
            <a:xfrm rot="16200000" flipH="1">
              <a:off x="1870375" y="4668501"/>
              <a:ext cx="1676690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9" name="Elbow Connector 148"/>
            <p:cNvCxnSpPr>
              <a:stCxn id="139" idx="2"/>
              <a:endCxn id="133" idx="1"/>
            </p:cNvCxnSpPr>
            <p:nvPr/>
          </p:nvCxnSpPr>
          <p:spPr>
            <a:xfrm rot="16200000" flipH="1">
              <a:off x="1669339" y="4869538"/>
              <a:ext cx="2327094" cy="386966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51" name="Elbow Connector 150"/>
            <p:cNvCxnSpPr>
              <a:stCxn id="27" idx="2"/>
              <a:endCxn id="121" idx="1"/>
            </p:cNvCxnSpPr>
            <p:nvPr/>
          </p:nvCxnSpPr>
          <p:spPr>
            <a:xfrm rot="16200000" flipH="1">
              <a:off x="386586" y="4343299"/>
              <a:ext cx="1026286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54" name="Elbow Connector 153"/>
            <p:cNvCxnSpPr>
              <a:stCxn id="27" idx="2"/>
              <a:endCxn id="122" idx="1"/>
            </p:cNvCxnSpPr>
            <p:nvPr/>
          </p:nvCxnSpPr>
          <p:spPr>
            <a:xfrm rot="16200000" flipH="1">
              <a:off x="61384" y="4668501"/>
              <a:ext cx="1676690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55" name="Elbow Connector 154"/>
            <p:cNvCxnSpPr>
              <a:stCxn id="27" idx="2"/>
              <a:endCxn id="129" idx="1"/>
            </p:cNvCxnSpPr>
            <p:nvPr/>
          </p:nvCxnSpPr>
          <p:spPr>
            <a:xfrm rot="16200000" flipH="1">
              <a:off x="-263818" y="4993703"/>
              <a:ext cx="2327094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3" name="Elbow Connector 162"/>
            <p:cNvCxnSpPr>
              <a:stCxn id="141" idx="2"/>
              <a:endCxn id="116" idx="1"/>
            </p:cNvCxnSpPr>
            <p:nvPr/>
          </p:nvCxnSpPr>
          <p:spPr>
            <a:xfrm rot="16200000" flipH="1">
              <a:off x="4668633" y="4024485"/>
              <a:ext cx="375882" cy="125860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4" name="Elbow Connector 163"/>
            <p:cNvCxnSpPr>
              <a:stCxn id="141" idx="2"/>
              <a:endCxn id="117" idx="1"/>
            </p:cNvCxnSpPr>
            <p:nvPr/>
          </p:nvCxnSpPr>
          <p:spPr>
            <a:xfrm rot="16200000" flipH="1">
              <a:off x="4343431" y="4349687"/>
              <a:ext cx="1026286" cy="125860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5" name="Elbow Connector 164"/>
            <p:cNvCxnSpPr>
              <a:stCxn id="142" idx="2"/>
              <a:endCxn id="114" idx="1"/>
            </p:cNvCxnSpPr>
            <p:nvPr/>
          </p:nvCxnSpPr>
          <p:spPr>
            <a:xfrm rot="16200000" flipH="1">
              <a:off x="6484686" y="4349478"/>
              <a:ext cx="1026286" cy="126277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6" name="Elbow Connector 165"/>
            <p:cNvCxnSpPr>
              <a:stCxn id="142" idx="2"/>
              <a:endCxn id="115" idx="1"/>
            </p:cNvCxnSpPr>
            <p:nvPr/>
          </p:nvCxnSpPr>
          <p:spPr>
            <a:xfrm rot="16200000" flipH="1">
              <a:off x="6809888" y="4024276"/>
              <a:ext cx="375882" cy="126277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61" name="NumberBall"/>
            <p:cNvSpPr>
              <a:spLocks noChangeArrowheads="1"/>
            </p:cNvSpPr>
            <p:nvPr/>
          </p:nvSpPr>
          <p:spPr bwMode="gray">
            <a:xfrm>
              <a:off x="574026" y="319832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600" b="1" dirty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</a:t>
              </a:r>
            </a:p>
          </p:txBody>
        </p:sp>
        <p:sp>
          <p:nvSpPr>
            <p:cNvPr id="62" name="NumberBall"/>
            <p:cNvSpPr>
              <a:spLocks noChangeArrowheads="1"/>
            </p:cNvSpPr>
            <p:nvPr/>
          </p:nvSpPr>
          <p:spPr bwMode="gray">
            <a:xfrm>
              <a:off x="4535489" y="319832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600" b="1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2</a:t>
              </a:r>
              <a:endPara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63" name="NumberBall"/>
            <p:cNvSpPr>
              <a:spLocks noChangeArrowheads="1"/>
            </p:cNvSpPr>
            <p:nvPr/>
          </p:nvSpPr>
          <p:spPr bwMode="gray">
            <a:xfrm>
              <a:off x="6702554" y="319832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600" b="1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3</a:t>
              </a:r>
              <a:endPara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3" name="NumberBall"/>
            <p:cNvSpPr>
              <a:spLocks noChangeArrowheads="1"/>
            </p:cNvSpPr>
            <p:nvPr/>
          </p:nvSpPr>
          <p:spPr bwMode="gray">
            <a:xfrm>
              <a:off x="867072" y="394340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1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4" name="NumberBall"/>
            <p:cNvSpPr>
              <a:spLocks noChangeArrowheads="1"/>
            </p:cNvSpPr>
            <p:nvPr/>
          </p:nvSpPr>
          <p:spPr bwMode="gray">
            <a:xfrm>
              <a:off x="4815835" y="394340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2.1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5" name="NumberBall"/>
            <p:cNvSpPr>
              <a:spLocks noChangeArrowheads="1"/>
            </p:cNvSpPr>
            <p:nvPr/>
          </p:nvSpPr>
          <p:spPr bwMode="gray">
            <a:xfrm>
              <a:off x="6982900" y="394340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3.1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6" name="NumberBall"/>
            <p:cNvSpPr>
              <a:spLocks noChangeArrowheads="1"/>
            </p:cNvSpPr>
            <p:nvPr/>
          </p:nvSpPr>
          <p:spPr bwMode="gray">
            <a:xfrm>
              <a:off x="867072" y="4590180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2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7" name="NumberBall"/>
            <p:cNvSpPr>
              <a:spLocks noChangeArrowheads="1"/>
            </p:cNvSpPr>
            <p:nvPr/>
          </p:nvSpPr>
          <p:spPr bwMode="gray">
            <a:xfrm>
              <a:off x="4815835" y="4590180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2.2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8" name="NumberBall"/>
            <p:cNvSpPr>
              <a:spLocks noChangeArrowheads="1"/>
            </p:cNvSpPr>
            <p:nvPr/>
          </p:nvSpPr>
          <p:spPr bwMode="gray">
            <a:xfrm>
              <a:off x="6982900" y="4590180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3.2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9" name="NumberBall"/>
            <p:cNvSpPr>
              <a:spLocks noChangeArrowheads="1"/>
            </p:cNvSpPr>
            <p:nvPr/>
          </p:nvSpPr>
          <p:spPr bwMode="gray">
            <a:xfrm>
              <a:off x="867072" y="524314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3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80" name="NumberBall"/>
            <p:cNvSpPr>
              <a:spLocks noChangeArrowheads="1"/>
            </p:cNvSpPr>
            <p:nvPr/>
          </p:nvSpPr>
          <p:spPr bwMode="gray">
            <a:xfrm>
              <a:off x="867072" y="5893508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4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81" name="NumberBall"/>
            <p:cNvSpPr>
              <a:spLocks noChangeArrowheads="1"/>
            </p:cNvSpPr>
            <p:nvPr/>
          </p:nvSpPr>
          <p:spPr bwMode="gray">
            <a:xfrm>
              <a:off x="2688958" y="394340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5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82" name="NumberBall"/>
            <p:cNvSpPr>
              <a:spLocks noChangeArrowheads="1"/>
            </p:cNvSpPr>
            <p:nvPr/>
          </p:nvSpPr>
          <p:spPr bwMode="gray">
            <a:xfrm>
              <a:off x="2688958" y="4590180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6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83" name="NumberBall"/>
            <p:cNvSpPr>
              <a:spLocks noChangeArrowheads="1"/>
            </p:cNvSpPr>
            <p:nvPr/>
          </p:nvSpPr>
          <p:spPr bwMode="gray">
            <a:xfrm>
              <a:off x="2688958" y="524314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7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733764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158751" y="6161839"/>
            <a:ext cx="5246968" cy="6042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61919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5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ull Project View</a:t>
            </a:r>
            <a:r>
              <a:rPr lang="cs-CZ" dirty="0" smtClean="0"/>
              <a:t>: Last meeting (20.4.2017)</a:t>
            </a:r>
            <a:endParaRPr lang="cs-CZ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27638" y="2339430"/>
            <a:ext cx="5063229" cy="4426660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1864225" y="2380966"/>
            <a:ext cx="946149" cy="999447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0" name="Rectangle 29"/>
          <p:cNvSpPr/>
          <p:nvPr/>
        </p:nvSpPr>
        <p:spPr>
          <a:xfrm>
            <a:off x="5299829" y="2716777"/>
            <a:ext cx="1107572" cy="1232283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6" name="Rectangle 35"/>
          <p:cNvSpPr/>
          <p:nvPr/>
        </p:nvSpPr>
        <p:spPr>
          <a:xfrm>
            <a:off x="5299829" y="2339430"/>
            <a:ext cx="1107572" cy="377348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7" name="Rectangle 36"/>
          <p:cNvSpPr/>
          <p:nvPr/>
        </p:nvSpPr>
        <p:spPr>
          <a:xfrm>
            <a:off x="4135700" y="3377294"/>
            <a:ext cx="1079608" cy="1175466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1" name="Rectangle 40"/>
          <p:cNvSpPr/>
          <p:nvPr/>
        </p:nvSpPr>
        <p:spPr>
          <a:xfrm>
            <a:off x="2810374" y="3381296"/>
            <a:ext cx="1325326" cy="1171464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8" name="Rectangle 37"/>
          <p:cNvSpPr/>
          <p:nvPr/>
        </p:nvSpPr>
        <p:spPr>
          <a:xfrm>
            <a:off x="1864225" y="3381296"/>
            <a:ext cx="946149" cy="1171464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1" name="Rectangle 30"/>
          <p:cNvSpPr/>
          <p:nvPr/>
        </p:nvSpPr>
        <p:spPr>
          <a:xfrm>
            <a:off x="1262537" y="5693470"/>
            <a:ext cx="1037763" cy="1072619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2" name="Rectangle 31"/>
          <p:cNvSpPr/>
          <p:nvPr/>
        </p:nvSpPr>
        <p:spPr>
          <a:xfrm>
            <a:off x="2572858" y="4552760"/>
            <a:ext cx="2642450" cy="1095225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3" name="Rectangle 32"/>
          <p:cNvSpPr/>
          <p:nvPr/>
        </p:nvSpPr>
        <p:spPr>
          <a:xfrm>
            <a:off x="1262537" y="3687707"/>
            <a:ext cx="601688" cy="865053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5" name="Rectangle 34"/>
          <p:cNvSpPr/>
          <p:nvPr/>
        </p:nvSpPr>
        <p:spPr>
          <a:xfrm>
            <a:off x="1262537" y="2380967"/>
            <a:ext cx="598549" cy="671516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9" name="Rectangle 38"/>
          <p:cNvSpPr/>
          <p:nvPr/>
        </p:nvSpPr>
        <p:spPr>
          <a:xfrm>
            <a:off x="2810374" y="2380967"/>
            <a:ext cx="1117548" cy="1000329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0" name="Rectangle 39"/>
          <p:cNvSpPr/>
          <p:nvPr/>
        </p:nvSpPr>
        <p:spPr>
          <a:xfrm>
            <a:off x="3927922" y="2380967"/>
            <a:ext cx="1287386" cy="996327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2" name="Rectangle 41"/>
          <p:cNvSpPr/>
          <p:nvPr/>
        </p:nvSpPr>
        <p:spPr>
          <a:xfrm>
            <a:off x="1262537" y="3052483"/>
            <a:ext cx="598549" cy="632104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3" name="Rectangle 42"/>
          <p:cNvSpPr/>
          <p:nvPr/>
        </p:nvSpPr>
        <p:spPr>
          <a:xfrm>
            <a:off x="2300300" y="5693470"/>
            <a:ext cx="1109650" cy="1072619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4" name="NumberBall"/>
          <p:cNvSpPr>
            <a:spLocks noChangeArrowheads="1"/>
          </p:cNvSpPr>
          <p:nvPr/>
        </p:nvSpPr>
        <p:spPr bwMode="gray">
          <a:xfrm>
            <a:off x="1080000" y="226106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</a:t>
            </a:r>
          </a:p>
        </p:txBody>
      </p:sp>
      <p:sp>
        <p:nvSpPr>
          <p:cNvPr id="53" name="NumberBall"/>
          <p:cNvSpPr>
            <a:spLocks noChangeArrowheads="1"/>
          </p:cNvSpPr>
          <p:nvPr/>
        </p:nvSpPr>
        <p:spPr bwMode="gray">
          <a:xfrm>
            <a:off x="3782734" y="330199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3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5" name="NumberBall"/>
          <p:cNvSpPr>
            <a:spLocks noChangeArrowheads="1"/>
          </p:cNvSpPr>
          <p:nvPr/>
        </p:nvSpPr>
        <p:spPr bwMode="gray">
          <a:xfrm>
            <a:off x="6077094" y="226106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8" name="NumberBall"/>
          <p:cNvSpPr>
            <a:spLocks noChangeArrowheads="1"/>
          </p:cNvSpPr>
          <p:nvPr/>
        </p:nvSpPr>
        <p:spPr bwMode="gray">
          <a:xfrm>
            <a:off x="5541019" y="235969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1" name="NumberBall"/>
          <p:cNvSpPr>
            <a:spLocks noChangeArrowheads="1"/>
          </p:cNvSpPr>
          <p:nvPr/>
        </p:nvSpPr>
        <p:spPr bwMode="gray">
          <a:xfrm>
            <a:off x="5700317" y="306680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6" name="NumberBall"/>
          <p:cNvSpPr>
            <a:spLocks noChangeArrowheads="1"/>
          </p:cNvSpPr>
          <p:nvPr/>
        </p:nvSpPr>
        <p:spPr bwMode="gray">
          <a:xfrm>
            <a:off x="1355775" y="577471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9" name="NumberBall"/>
          <p:cNvSpPr>
            <a:spLocks noChangeArrowheads="1"/>
          </p:cNvSpPr>
          <p:nvPr/>
        </p:nvSpPr>
        <p:spPr bwMode="gray">
          <a:xfrm>
            <a:off x="1779187" y="601420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2" name="NumberBall"/>
          <p:cNvSpPr>
            <a:spLocks noChangeArrowheads="1"/>
          </p:cNvSpPr>
          <p:nvPr/>
        </p:nvSpPr>
        <p:spPr bwMode="gray">
          <a:xfrm>
            <a:off x="2626011" y="616183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7" name="NumberBall"/>
          <p:cNvSpPr>
            <a:spLocks noChangeArrowheads="1"/>
          </p:cNvSpPr>
          <p:nvPr/>
        </p:nvSpPr>
        <p:spPr bwMode="gray">
          <a:xfrm>
            <a:off x="3842054" y="491277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7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7" name="NumberBall"/>
          <p:cNvSpPr>
            <a:spLocks noChangeArrowheads="1"/>
          </p:cNvSpPr>
          <p:nvPr/>
        </p:nvSpPr>
        <p:spPr bwMode="gray">
          <a:xfrm>
            <a:off x="1489623" y="255634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0" name="NumberBall"/>
          <p:cNvSpPr>
            <a:spLocks noChangeArrowheads="1"/>
          </p:cNvSpPr>
          <p:nvPr/>
        </p:nvSpPr>
        <p:spPr bwMode="gray">
          <a:xfrm>
            <a:off x="2139898" y="2740296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5" name="NumberBall"/>
          <p:cNvSpPr>
            <a:spLocks noChangeArrowheads="1"/>
          </p:cNvSpPr>
          <p:nvPr/>
        </p:nvSpPr>
        <p:spPr bwMode="gray">
          <a:xfrm>
            <a:off x="2041211" y="362726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5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4" name="NumberBall"/>
          <p:cNvSpPr>
            <a:spLocks noChangeArrowheads="1"/>
          </p:cNvSpPr>
          <p:nvPr/>
        </p:nvSpPr>
        <p:spPr bwMode="gray">
          <a:xfrm>
            <a:off x="1375275" y="400084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4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1262537" y="4551638"/>
            <a:ext cx="1310320" cy="1096347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56" name="NumberBall"/>
          <p:cNvSpPr>
            <a:spLocks noChangeArrowheads="1"/>
          </p:cNvSpPr>
          <p:nvPr/>
        </p:nvSpPr>
        <p:spPr bwMode="gray">
          <a:xfrm>
            <a:off x="1631549" y="514267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6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5631557" y="4242977"/>
            <a:ext cx="1994931" cy="2523112"/>
            <a:chOff x="6211166" y="4296116"/>
            <a:chExt cx="1994931" cy="2523112"/>
          </a:xfrm>
        </p:grpSpPr>
        <p:sp>
          <p:nvSpPr>
            <p:cNvPr id="64" name="Rectangle 4"/>
            <p:cNvSpPr>
              <a:spLocks noChangeArrowheads="1"/>
            </p:cNvSpPr>
            <p:nvPr/>
          </p:nvSpPr>
          <p:spPr bwMode="gray">
            <a:xfrm>
              <a:off x="6211166" y="4296116"/>
              <a:ext cx="1994931" cy="430887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 type="none" w="lg" len="lg"/>
              <a:tailEnd type="none" w="lg" len="lg"/>
            </a:ln>
            <a:effectLst>
              <a:outerShdw dist="25400" dir="5400000" sx="99000" sy="99000" algn="ctr" rotWithShape="0">
                <a:schemeClr val="accent5"/>
              </a:outerShdw>
            </a:effectLst>
          </p:spPr>
          <p:txBody>
            <a:bodyPr wrap="square" tIns="91440" bIns="91440" anchor="b">
              <a:spAutoFit/>
            </a:bodyPr>
            <a:lstStyle/>
            <a:p>
              <a:pPr algn="ctr"/>
              <a:r>
                <a:rPr lang="en-US" sz="1600" b="1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Legend</a:t>
              </a:r>
              <a:endParaRPr lang="en-US" sz="16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7" name="Rectangle 66"/>
            <p:cNvSpPr/>
            <p:nvPr/>
          </p:nvSpPr>
          <p:spPr>
            <a:xfrm>
              <a:off x="6713605" y="4801042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ot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tarted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8" name="Rectangle 67"/>
            <p:cNvSpPr/>
            <p:nvPr/>
          </p:nvSpPr>
          <p:spPr>
            <a:xfrm>
              <a:off x="6713605" y="5290757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gress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9" name="Rectangle 78"/>
            <p:cNvSpPr/>
            <p:nvPr/>
          </p:nvSpPr>
          <p:spPr>
            <a:xfrm>
              <a:off x="6713605" y="5780472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inished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8" name="Rectangle 57"/>
            <p:cNvSpPr/>
            <p:nvPr/>
          </p:nvSpPr>
          <p:spPr>
            <a:xfrm>
              <a:off x="6713605" y="6270186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hange</a:t>
              </a:r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quest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3" name="Rectangle 62"/>
            <p:cNvSpPr/>
            <p:nvPr/>
          </p:nvSpPr>
          <p:spPr>
            <a:xfrm>
              <a:off x="6267196" y="5439278"/>
              <a:ext cx="396000" cy="252000"/>
            </a:xfrm>
            <a:prstGeom prst="rect">
              <a:avLst/>
            </a:prstGeom>
            <a:solidFill>
              <a:schemeClr val="accent4">
                <a:alpha val="4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65" name="Rectangle 64"/>
            <p:cNvSpPr/>
            <p:nvPr/>
          </p:nvSpPr>
          <p:spPr>
            <a:xfrm>
              <a:off x="6267196" y="4949563"/>
              <a:ext cx="396000" cy="252000"/>
            </a:xfrm>
            <a:prstGeom prst="rect">
              <a:avLst/>
            </a:prstGeom>
            <a:solidFill>
              <a:schemeClr val="accent2">
                <a:alpha val="4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69" name="Rectangle 68"/>
            <p:cNvSpPr/>
            <p:nvPr/>
          </p:nvSpPr>
          <p:spPr>
            <a:xfrm>
              <a:off x="6267196" y="5928993"/>
              <a:ext cx="396000" cy="252000"/>
            </a:xfrm>
            <a:prstGeom prst="rect">
              <a:avLst/>
            </a:prstGeom>
            <a:solidFill>
              <a:schemeClr val="accent6">
                <a:alpha val="40000"/>
              </a:schemeClr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70" name="Rectangle 69"/>
            <p:cNvSpPr/>
            <p:nvPr/>
          </p:nvSpPr>
          <p:spPr>
            <a:xfrm>
              <a:off x="6267196" y="6418707"/>
              <a:ext cx="396000" cy="252000"/>
            </a:xfrm>
            <a:prstGeom prst="rect">
              <a:avLst/>
            </a:prstGeom>
            <a:solidFill>
              <a:schemeClr val="accent1">
                <a:alpha val="4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</p:grpSp>
    </p:spTree>
    <p:extLst>
      <p:ext uri="{BB962C8B-B14F-4D97-AF65-F5344CB8AC3E}">
        <p14:creationId xmlns:p14="http://schemas.microsoft.com/office/powerpoint/2010/main" val="29268636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Rectangle 76"/>
          <p:cNvSpPr/>
          <p:nvPr/>
        </p:nvSpPr>
        <p:spPr>
          <a:xfrm>
            <a:off x="158751" y="6161839"/>
            <a:ext cx="5246968" cy="6042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61919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ull Project View</a:t>
            </a:r>
            <a:r>
              <a:rPr lang="cs-CZ" dirty="0" smtClean="0"/>
              <a:t>: </a:t>
            </a:r>
            <a:r>
              <a:rPr lang="cs-CZ" dirty="0" err="1" smtClean="0"/>
              <a:t>Current</a:t>
            </a:r>
            <a:r>
              <a:rPr lang="cs-CZ" dirty="0" smtClean="0"/>
              <a:t> status </a:t>
            </a:r>
            <a:r>
              <a:rPr lang="cs-CZ" dirty="0" smtClean="0"/>
              <a:t>(4.5.2017</a:t>
            </a:r>
            <a:r>
              <a:rPr lang="cs-CZ" dirty="0" smtClean="0"/>
              <a:t>)</a:t>
            </a:r>
            <a:endParaRPr lang="cs-CZ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27638" y="2339430"/>
            <a:ext cx="5063229" cy="4426660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1864225" y="2380966"/>
            <a:ext cx="946149" cy="999447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0" name="Rectangle 29"/>
          <p:cNvSpPr/>
          <p:nvPr/>
        </p:nvSpPr>
        <p:spPr>
          <a:xfrm>
            <a:off x="5299829" y="2716777"/>
            <a:ext cx="1107572" cy="1232283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6" name="Rectangle 35"/>
          <p:cNvSpPr/>
          <p:nvPr/>
        </p:nvSpPr>
        <p:spPr>
          <a:xfrm>
            <a:off x="5299829" y="2339430"/>
            <a:ext cx="1107572" cy="377348"/>
          </a:xfrm>
          <a:prstGeom prst="rect">
            <a:avLst/>
          </a:prstGeom>
          <a:solidFill>
            <a:schemeClr val="accent1">
              <a:alpha val="4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1" name="Rectangle 40"/>
          <p:cNvSpPr/>
          <p:nvPr/>
        </p:nvSpPr>
        <p:spPr>
          <a:xfrm>
            <a:off x="2810374" y="3381296"/>
            <a:ext cx="1325326" cy="1171464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8" name="Rectangle 37"/>
          <p:cNvSpPr/>
          <p:nvPr/>
        </p:nvSpPr>
        <p:spPr>
          <a:xfrm>
            <a:off x="1864225" y="3381296"/>
            <a:ext cx="946149" cy="1168994"/>
          </a:xfrm>
          <a:prstGeom prst="rect">
            <a:avLst/>
          </a:prstGeom>
          <a:solidFill>
            <a:schemeClr val="accent1">
              <a:alpha val="4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1" name="Rectangle 30"/>
          <p:cNvSpPr/>
          <p:nvPr/>
        </p:nvSpPr>
        <p:spPr>
          <a:xfrm>
            <a:off x="1262537" y="5693470"/>
            <a:ext cx="1037763" cy="1072619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2" name="Rectangle 31"/>
          <p:cNvSpPr/>
          <p:nvPr/>
        </p:nvSpPr>
        <p:spPr>
          <a:xfrm>
            <a:off x="2572858" y="4552760"/>
            <a:ext cx="2642450" cy="1095225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3" name="Rectangle 32"/>
          <p:cNvSpPr/>
          <p:nvPr/>
        </p:nvSpPr>
        <p:spPr>
          <a:xfrm>
            <a:off x="1262537" y="3687707"/>
            <a:ext cx="601688" cy="862583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5" name="Rectangle 34"/>
          <p:cNvSpPr/>
          <p:nvPr/>
        </p:nvSpPr>
        <p:spPr>
          <a:xfrm>
            <a:off x="1262537" y="2380967"/>
            <a:ext cx="598549" cy="671516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9" name="Rectangle 38"/>
          <p:cNvSpPr/>
          <p:nvPr/>
        </p:nvSpPr>
        <p:spPr>
          <a:xfrm>
            <a:off x="2810374" y="2380967"/>
            <a:ext cx="1117548" cy="1000329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0" name="Rectangle 39"/>
          <p:cNvSpPr/>
          <p:nvPr/>
        </p:nvSpPr>
        <p:spPr>
          <a:xfrm>
            <a:off x="3927922" y="2380967"/>
            <a:ext cx="1287386" cy="996327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2" name="Rectangle 41"/>
          <p:cNvSpPr/>
          <p:nvPr/>
        </p:nvSpPr>
        <p:spPr>
          <a:xfrm>
            <a:off x="1262537" y="3052483"/>
            <a:ext cx="598549" cy="632104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3" name="Rectangle 42"/>
          <p:cNvSpPr/>
          <p:nvPr/>
        </p:nvSpPr>
        <p:spPr>
          <a:xfrm>
            <a:off x="2300300" y="5693470"/>
            <a:ext cx="1109650" cy="1072619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4" name="NumberBall"/>
          <p:cNvSpPr>
            <a:spLocks noChangeArrowheads="1"/>
          </p:cNvSpPr>
          <p:nvPr/>
        </p:nvSpPr>
        <p:spPr bwMode="gray">
          <a:xfrm>
            <a:off x="1080000" y="226106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</a:t>
            </a:r>
          </a:p>
        </p:txBody>
      </p:sp>
      <p:sp>
        <p:nvSpPr>
          <p:cNvPr id="53" name="NumberBall"/>
          <p:cNvSpPr>
            <a:spLocks noChangeArrowheads="1"/>
          </p:cNvSpPr>
          <p:nvPr/>
        </p:nvSpPr>
        <p:spPr bwMode="gray">
          <a:xfrm>
            <a:off x="3782734" y="330199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3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5" name="NumberBall"/>
          <p:cNvSpPr>
            <a:spLocks noChangeArrowheads="1"/>
          </p:cNvSpPr>
          <p:nvPr/>
        </p:nvSpPr>
        <p:spPr bwMode="gray">
          <a:xfrm>
            <a:off x="6077094" y="226106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8" name="NumberBall"/>
          <p:cNvSpPr>
            <a:spLocks noChangeArrowheads="1"/>
          </p:cNvSpPr>
          <p:nvPr/>
        </p:nvSpPr>
        <p:spPr bwMode="gray">
          <a:xfrm>
            <a:off x="5541019" y="235969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1" name="NumberBall"/>
          <p:cNvSpPr>
            <a:spLocks noChangeArrowheads="1"/>
          </p:cNvSpPr>
          <p:nvPr/>
        </p:nvSpPr>
        <p:spPr bwMode="gray">
          <a:xfrm>
            <a:off x="5700317" y="306680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6" name="NumberBall"/>
          <p:cNvSpPr>
            <a:spLocks noChangeArrowheads="1"/>
          </p:cNvSpPr>
          <p:nvPr/>
        </p:nvSpPr>
        <p:spPr bwMode="gray">
          <a:xfrm>
            <a:off x="1355775" y="577471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9" name="NumberBall"/>
          <p:cNvSpPr>
            <a:spLocks noChangeArrowheads="1"/>
          </p:cNvSpPr>
          <p:nvPr/>
        </p:nvSpPr>
        <p:spPr bwMode="gray">
          <a:xfrm>
            <a:off x="1779187" y="601420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2" name="NumberBall"/>
          <p:cNvSpPr>
            <a:spLocks noChangeArrowheads="1"/>
          </p:cNvSpPr>
          <p:nvPr/>
        </p:nvSpPr>
        <p:spPr bwMode="gray">
          <a:xfrm>
            <a:off x="2626011" y="616183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7" name="NumberBall"/>
          <p:cNvSpPr>
            <a:spLocks noChangeArrowheads="1"/>
          </p:cNvSpPr>
          <p:nvPr/>
        </p:nvSpPr>
        <p:spPr bwMode="gray">
          <a:xfrm>
            <a:off x="3842054" y="491277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7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7" name="NumberBall"/>
          <p:cNvSpPr>
            <a:spLocks noChangeArrowheads="1"/>
          </p:cNvSpPr>
          <p:nvPr/>
        </p:nvSpPr>
        <p:spPr bwMode="gray">
          <a:xfrm>
            <a:off x="1489623" y="255634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0" name="NumberBall"/>
          <p:cNvSpPr>
            <a:spLocks noChangeArrowheads="1"/>
          </p:cNvSpPr>
          <p:nvPr/>
        </p:nvSpPr>
        <p:spPr bwMode="gray">
          <a:xfrm>
            <a:off x="2139898" y="2740296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5" name="NumberBall"/>
          <p:cNvSpPr>
            <a:spLocks noChangeArrowheads="1"/>
          </p:cNvSpPr>
          <p:nvPr/>
        </p:nvSpPr>
        <p:spPr bwMode="gray">
          <a:xfrm>
            <a:off x="2041211" y="362726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5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4" name="NumberBall"/>
          <p:cNvSpPr>
            <a:spLocks noChangeArrowheads="1"/>
          </p:cNvSpPr>
          <p:nvPr/>
        </p:nvSpPr>
        <p:spPr bwMode="gray">
          <a:xfrm>
            <a:off x="1375275" y="400084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4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1262537" y="4550290"/>
            <a:ext cx="1310320" cy="1097695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7" name="Rectangle 36"/>
          <p:cNvSpPr/>
          <p:nvPr/>
        </p:nvSpPr>
        <p:spPr>
          <a:xfrm>
            <a:off x="4135700" y="3377294"/>
            <a:ext cx="1079608" cy="1175466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56" name="NumberBall"/>
          <p:cNvSpPr>
            <a:spLocks noChangeArrowheads="1"/>
          </p:cNvSpPr>
          <p:nvPr/>
        </p:nvSpPr>
        <p:spPr bwMode="gray">
          <a:xfrm>
            <a:off x="1631549" y="514267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6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grpSp>
        <p:nvGrpSpPr>
          <p:cNvPr id="66" name="Group 65"/>
          <p:cNvGrpSpPr/>
          <p:nvPr/>
        </p:nvGrpSpPr>
        <p:grpSpPr>
          <a:xfrm>
            <a:off x="5631557" y="4242977"/>
            <a:ext cx="1994931" cy="2523112"/>
            <a:chOff x="6211166" y="4296116"/>
            <a:chExt cx="1994931" cy="2523112"/>
          </a:xfrm>
        </p:grpSpPr>
        <p:sp>
          <p:nvSpPr>
            <p:cNvPr id="67" name="Rectangle 4"/>
            <p:cNvSpPr>
              <a:spLocks noChangeArrowheads="1"/>
            </p:cNvSpPr>
            <p:nvPr/>
          </p:nvSpPr>
          <p:spPr bwMode="gray">
            <a:xfrm>
              <a:off x="6211166" y="4296116"/>
              <a:ext cx="1994931" cy="430887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 type="none" w="lg" len="lg"/>
              <a:tailEnd type="none" w="lg" len="lg"/>
            </a:ln>
            <a:effectLst>
              <a:outerShdw dist="25400" dir="5400000" sx="99000" sy="99000" algn="ctr" rotWithShape="0">
                <a:schemeClr val="accent5"/>
              </a:outerShdw>
            </a:effectLst>
          </p:spPr>
          <p:txBody>
            <a:bodyPr wrap="square" tIns="91440" bIns="91440" anchor="b">
              <a:spAutoFit/>
            </a:bodyPr>
            <a:lstStyle/>
            <a:p>
              <a:pPr algn="ctr"/>
              <a:r>
                <a:rPr lang="en-US" sz="1600" b="1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Legend</a:t>
              </a:r>
              <a:endParaRPr lang="en-US" sz="16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8" name="Rectangle 67"/>
            <p:cNvSpPr/>
            <p:nvPr/>
          </p:nvSpPr>
          <p:spPr>
            <a:xfrm>
              <a:off x="6713605" y="4801042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ot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tarted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0" name="Rectangle 69"/>
            <p:cNvSpPr/>
            <p:nvPr/>
          </p:nvSpPr>
          <p:spPr>
            <a:xfrm>
              <a:off x="6713605" y="5290757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gress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1" name="Rectangle 70"/>
            <p:cNvSpPr/>
            <p:nvPr/>
          </p:nvSpPr>
          <p:spPr>
            <a:xfrm>
              <a:off x="6713605" y="5780472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inished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2" name="Rectangle 71"/>
            <p:cNvSpPr/>
            <p:nvPr/>
          </p:nvSpPr>
          <p:spPr>
            <a:xfrm>
              <a:off x="6713605" y="6270186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hange</a:t>
              </a:r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quest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3" name="Rectangle 72"/>
            <p:cNvSpPr/>
            <p:nvPr/>
          </p:nvSpPr>
          <p:spPr>
            <a:xfrm>
              <a:off x="6267196" y="5439278"/>
              <a:ext cx="396000" cy="252000"/>
            </a:xfrm>
            <a:prstGeom prst="rect">
              <a:avLst/>
            </a:prstGeom>
            <a:solidFill>
              <a:schemeClr val="accent4">
                <a:alpha val="4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74" name="Rectangle 73"/>
            <p:cNvSpPr/>
            <p:nvPr/>
          </p:nvSpPr>
          <p:spPr>
            <a:xfrm>
              <a:off x="6267196" y="4949563"/>
              <a:ext cx="396000" cy="252000"/>
            </a:xfrm>
            <a:prstGeom prst="rect">
              <a:avLst/>
            </a:prstGeom>
            <a:solidFill>
              <a:schemeClr val="accent2">
                <a:alpha val="4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75" name="Rectangle 74"/>
            <p:cNvSpPr/>
            <p:nvPr/>
          </p:nvSpPr>
          <p:spPr>
            <a:xfrm>
              <a:off x="6267196" y="5928993"/>
              <a:ext cx="396000" cy="252000"/>
            </a:xfrm>
            <a:prstGeom prst="rect">
              <a:avLst/>
            </a:prstGeom>
            <a:solidFill>
              <a:schemeClr val="accent6">
                <a:alpha val="40000"/>
              </a:schemeClr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76" name="Rectangle 75"/>
            <p:cNvSpPr/>
            <p:nvPr/>
          </p:nvSpPr>
          <p:spPr>
            <a:xfrm>
              <a:off x="6267196" y="6418707"/>
              <a:ext cx="396000" cy="252000"/>
            </a:xfrm>
            <a:prstGeom prst="rect">
              <a:avLst/>
            </a:prstGeom>
            <a:solidFill>
              <a:schemeClr val="accent1">
                <a:alpha val="4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</p:grpSp>
    </p:spTree>
    <p:extLst>
      <p:ext uri="{BB962C8B-B14F-4D97-AF65-F5344CB8AC3E}">
        <p14:creationId xmlns:p14="http://schemas.microsoft.com/office/powerpoint/2010/main" val="2844608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0" y="3568050"/>
            <a:ext cx="9144000" cy="736822"/>
          </a:xfrm>
          <a:solidFill>
            <a:schemeClr val="accent5"/>
          </a:solidFill>
        </p:spPr>
        <p:txBody>
          <a:bodyPr anchor="ctr"/>
          <a:lstStyle/>
          <a:p>
            <a:pPr algn="ctr"/>
            <a:r>
              <a:rPr lang="cs-CZ" dirty="0" err="1" smtClean="0">
                <a:solidFill>
                  <a:schemeClr val="bg1"/>
                </a:solidFill>
              </a:rPr>
              <a:t>Testing</a:t>
            </a:r>
            <a:r>
              <a:rPr lang="cs-CZ" dirty="0" smtClean="0">
                <a:solidFill>
                  <a:schemeClr val="bg1"/>
                </a:solidFill>
              </a:rPr>
              <a:t> update</a:t>
            </a:r>
            <a:endParaRPr lang="cs-CZ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77995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49708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3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igh-level View</a:t>
            </a:r>
            <a:endParaRPr lang="cs-CZ" dirty="0"/>
          </a:p>
        </p:txBody>
      </p:sp>
      <p:grpSp>
        <p:nvGrpSpPr>
          <p:cNvPr id="6" name="Group 5"/>
          <p:cNvGrpSpPr/>
          <p:nvPr/>
        </p:nvGrpSpPr>
        <p:grpSpPr>
          <a:xfrm>
            <a:off x="574026" y="2274115"/>
            <a:ext cx="7944642" cy="4105951"/>
            <a:chOff x="574026" y="2395138"/>
            <a:chExt cx="7944642" cy="4105951"/>
          </a:xfrm>
        </p:grpSpPr>
        <p:sp>
          <p:nvSpPr>
            <p:cNvPr id="4" name="Rectangle 3"/>
            <p:cNvSpPr/>
            <p:nvPr/>
          </p:nvSpPr>
          <p:spPr>
            <a:xfrm>
              <a:off x="3806638" y="2395138"/>
              <a:ext cx="1457699" cy="648929"/>
            </a:xfrm>
            <a:prstGeom prst="rect">
              <a:avLst/>
            </a:prstGeom>
            <a:solidFill>
              <a:srgbClr val="4472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400" dirty="0" smtClean="0"/>
                <a:t>CASA</a:t>
              </a:r>
              <a:endParaRPr lang="en-US" sz="2400" dirty="0"/>
            </a:p>
          </p:txBody>
        </p:sp>
        <p:sp>
          <p:nvSpPr>
            <p:cNvPr id="113" name="Rectangle 112"/>
            <p:cNvSpPr/>
            <p:nvPr/>
          </p:nvSpPr>
          <p:spPr>
            <a:xfrm>
              <a:off x="2778038" y="4000835"/>
              <a:ext cx="1457699" cy="54904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o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4" name="Rectangle 113"/>
            <p:cNvSpPr/>
            <p:nvPr/>
          </p:nvSpPr>
          <p:spPr>
            <a:xfrm>
              <a:off x="7060968" y="4651239"/>
              <a:ext cx="1457699" cy="54904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clude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5" name="Rectangle 114"/>
            <p:cNvSpPr/>
            <p:nvPr/>
          </p:nvSpPr>
          <p:spPr>
            <a:xfrm>
              <a:off x="7060968" y="4000835"/>
              <a:ext cx="1457699" cy="54904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olver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6" name="Rectangle 115"/>
            <p:cNvSpPr/>
            <p:nvPr/>
          </p:nvSpPr>
          <p:spPr>
            <a:xfrm>
              <a:off x="4919504" y="4000835"/>
              <a:ext cx="1457699" cy="54904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osix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7" name="Rectangle 116"/>
            <p:cNvSpPr/>
            <p:nvPr/>
          </p:nvSpPr>
          <p:spPr>
            <a:xfrm>
              <a:off x="4919504" y="4651239"/>
              <a:ext cx="1457699" cy="549042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utility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8" name="Rectangle 117"/>
            <p:cNvSpPr/>
            <p:nvPr/>
          </p:nvSpPr>
          <p:spPr>
            <a:xfrm>
              <a:off x="2778038" y="4651239"/>
              <a:ext cx="1457699" cy="54904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at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9" name="Rectangle 118"/>
            <p:cNvSpPr/>
            <p:nvPr/>
          </p:nvSpPr>
          <p:spPr>
            <a:xfrm>
              <a:off x="2778038" y="5301643"/>
              <a:ext cx="1457699" cy="549042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earch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0" name="Rectangle 119"/>
            <p:cNvSpPr/>
            <p:nvPr/>
          </p:nvSpPr>
          <p:spPr>
            <a:xfrm>
              <a:off x="969047" y="4000835"/>
              <a:ext cx="1457699" cy="549042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lgorithms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1" name="Rectangle 120"/>
            <p:cNvSpPr/>
            <p:nvPr/>
          </p:nvSpPr>
          <p:spPr>
            <a:xfrm>
              <a:off x="969047" y="4651239"/>
              <a:ext cx="1457699" cy="549042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nnealing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2" name="Rectangle 121"/>
            <p:cNvSpPr/>
            <p:nvPr/>
          </p:nvSpPr>
          <p:spPr>
            <a:xfrm>
              <a:off x="969047" y="5301643"/>
              <a:ext cx="1457699" cy="549042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vering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9" name="Rectangle 128"/>
            <p:cNvSpPr/>
            <p:nvPr/>
          </p:nvSpPr>
          <p:spPr>
            <a:xfrm>
              <a:off x="969047" y="5952047"/>
              <a:ext cx="1457699" cy="549042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vents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3" name="Rectangle 132"/>
            <p:cNvSpPr/>
            <p:nvPr/>
          </p:nvSpPr>
          <p:spPr>
            <a:xfrm>
              <a:off x="3026369" y="5952047"/>
              <a:ext cx="1209368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6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ain.C</a:t>
              </a:r>
              <a:endParaRPr lang="en-US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15" name="Elbow Connector 14"/>
            <p:cNvCxnSpPr>
              <a:stCxn id="4" idx="2"/>
              <a:endCxn id="110" idx="0"/>
            </p:cNvCxnSpPr>
            <p:nvPr/>
          </p:nvCxnSpPr>
          <p:spPr>
            <a:xfrm rot="5400000">
              <a:off x="3396385" y="2111440"/>
              <a:ext cx="206477" cy="2071731"/>
            </a:xfrm>
            <a:prstGeom prst="bentConnector3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4" name="Elbow Connector 133"/>
            <p:cNvCxnSpPr>
              <a:stCxn id="111" idx="0"/>
              <a:endCxn id="4" idx="2"/>
            </p:cNvCxnSpPr>
            <p:nvPr/>
          </p:nvCxnSpPr>
          <p:spPr>
            <a:xfrm rot="16200000" flipV="1">
              <a:off x="4922454" y="2657102"/>
              <a:ext cx="206477" cy="980408"/>
            </a:xfrm>
            <a:prstGeom prst="bentConnector3">
              <a:avLst>
                <a:gd name="adj1" fmla="val 50000"/>
              </a:avLst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7" name="Elbow Connector 136"/>
            <p:cNvCxnSpPr>
              <a:stCxn id="112" idx="0"/>
              <a:endCxn id="4" idx="2"/>
            </p:cNvCxnSpPr>
            <p:nvPr/>
          </p:nvCxnSpPr>
          <p:spPr>
            <a:xfrm rot="16200000" flipV="1">
              <a:off x="5993187" y="1586369"/>
              <a:ext cx="206477" cy="3121874"/>
            </a:xfrm>
            <a:prstGeom prst="bentConnector3">
              <a:avLst>
                <a:gd name="adj1" fmla="val 50000"/>
              </a:avLst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8" name="Elbow Connector 137"/>
            <p:cNvCxnSpPr>
              <a:stCxn id="27" idx="2"/>
              <a:endCxn id="120" idx="1"/>
            </p:cNvCxnSpPr>
            <p:nvPr/>
          </p:nvCxnSpPr>
          <p:spPr>
            <a:xfrm rot="16200000" flipH="1">
              <a:off x="711788" y="4018097"/>
              <a:ext cx="375882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88" name="Group 87"/>
            <p:cNvGrpSpPr/>
            <p:nvPr/>
          </p:nvGrpSpPr>
          <p:grpSpPr>
            <a:xfrm>
              <a:off x="691777" y="3250544"/>
              <a:ext cx="3543960" cy="648930"/>
              <a:chOff x="691777" y="3250544"/>
              <a:chExt cx="3543960" cy="648930"/>
            </a:xfrm>
          </p:grpSpPr>
          <p:sp>
            <p:nvSpPr>
              <p:cNvPr id="110" name="Rectangle 109"/>
              <p:cNvSpPr/>
              <p:nvPr/>
            </p:nvSpPr>
            <p:spPr>
              <a:xfrm>
                <a:off x="691777" y="3250544"/>
                <a:ext cx="3543960" cy="648929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2400" b="1" dirty="0" smtClean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asa</a:t>
                </a:r>
                <a:endParaRPr lang="en-US" sz="2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7" name="Rectangle 26"/>
              <p:cNvSpPr/>
              <p:nvPr/>
            </p:nvSpPr>
            <p:spPr>
              <a:xfrm>
                <a:off x="691777" y="3604506"/>
                <a:ext cx="277270" cy="294968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39" name="Rectangle 138"/>
              <p:cNvSpPr/>
              <p:nvPr/>
            </p:nvSpPr>
            <p:spPr>
              <a:xfrm>
                <a:off x="2500768" y="3604506"/>
                <a:ext cx="277270" cy="294968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140" name="Elbow Connector 139"/>
            <p:cNvCxnSpPr>
              <a:stCxn id="139" idx="2"/>
              <a:endCxn id="113" idx="1"/>
            </p:cNvCxnSpPr>
            <p:nvPr/>
          </p:nvCxnSpPr>
          <p:spPr>
            <a:xfrm rot="16200000" flipH="1">
              <a:off x="2520779" y="4018097"/>
              <a:ext cx="375882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87" name="Group 86"/>
            <p:cNvGrpSpPr/>
            <p:nvPr/>
          </p:nvGrpSpPr>
          <p:grpSpPr>
            <a:xfrm>
              <a:off x="4654590" y="3250544"/>
              <a:ext cx="1722612" cy="648930"/>
              <a:chOff x="4654590" y="3250544"/>
              <a:chExt cx="1722612" cy="648930"/>
            </a:xfrm>
          </p:grpSpPr>
          <p:sp>
            <p:nvSpPr>
              <p:cNvPr id="111" name="Rectangle 110"/>
              <p:cNvSpPr/>
              <p:nvPr/>
            </p:nvSpPr>
            <p:spPr>
              <a:xfrm>
                <a:off x="4654590" y="3250544"/>
                <a:ext cx="1722612" cy="648929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2400" b="1" dirty="0" smtClean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ommon</a:t>
                </a:r>
                <a:endParaRPr lang="en-US" sz="2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1" name="Rectangle 140"/>
              <p:cNvSpPr/>
              <p:nvPr/>
            </p:nvSpPr>
            <p:spPr>
              <a:xfrm>
                <a:off x="4655009" y="3604506"/>
                <a:ext cx="277270" cy="294968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86" name="Group 85"/>
            <p:cNvGrpSpPr/>
            <p:nvPr/>
          </p:nvGrpSpPr>
          <p:grpSpPr>
            <a:xfrm>
              <a:off x="6796056" y="3250544"/>
              <a:ext cx="1722612" cy="648930"/>
              <a:chOff x="6796056" y="3250544"/>
              <a:chExt cx="1722612" cy="648930"/>
            </a:xfrm>
          </p:grpSpPr>
          <p:sp>
            <p:nvSpPr>
              <p:cNvPr id="112" name="Rectangle 111"/>
              <p:cNvSpPr/>
              <p:nvPr/>
            </p:nvSpPr>
            <p:spPr>
              <a:xfrm>
                <a:off x="6796056" y="3250544"/>
                <a:ext cx="1722612" cy="648929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2400" b="1" dirty="0" err="1" smtClean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minisat</a:t>
                </a:r>
                <a:endParaRPr lang="en-US" sz="2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2" name="Rectangle 141"/>
              <p:cNvSpPr/>
              <p:nvPr/>
            </p:nvSpPr>
            <p:spPr>
              <a:xfrm>
                <a:off x="6796056" y="3604506"/>
                <a:ext cx="277270" cy="294968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143" name="Elbow Connector 142"/>
            <p:cNvCxnSpPr>
              <a:stCxn id="139" idx="2"/>
              <a:endCxn id="118" idx="1"/>
            </p:cNvCxnSpPr>
            <p:nvPr/>
          </p:nvCxnSpPr>
          <p:spPr>
            <a:xfrm rot="16200000" flipH="1">
              <a:off x="2195577" y="4343299"/>
              <a:ext cx="1026286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5" name="Elbow Connector 144"/>
            <p:cNvCxnSpPr>
              <a:stCxn id="139" idx="2"/>
              <a:endCxn id="119" idx="1"/>
            </p:cNvCxnSpPr>
            <p:nvPr/>
          </p:nvCxnSpPr>
          <p:spPr>
            <a:xfrm rot="16200000" flipH="1">
              <a:off x="1870375" y="4668501"/>
              <a:ext cx="1676690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9" name="Elbow Connector 148"/>
            <p:cNvCxnSpPr>
              <a:stCxn id="139" idx="2"/>
              <a:endCxn id="133" idx="1"/>
            </p:cNvCxnSpPr>
            <p:nvPr/>
          </p:nvCxnSpPr>
          <p:spPr>
            <a:xfrm rot="16200000" flipH="1">
              <a:off x="1669339" y="4869538"/>
              <a:ext cx="2327094" cy="386966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51" name="Elbow Connector 150"/>
            <p:cNvCxnSpPr>
              <a:stCxn id="27" idx="2"/>
              <a:endCxn id="121" idx="1"/>
            </p:cNvCxnSpPr>
            <p:nvPr/>
          </p:nvCxnSpPr>
          <p:spPr>
            <a:xfrm rot="16200000" flipH="1">
              <a:off x="386586" y="4343299"/>
              <a:ext cx="1026286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54" name="Elbow Connector 153"/>
            <p:cNvCxnSpPr>
              <a:stCxn id="27" idx="2"/>
              <a:endCxn id="122" idx="1"/>
            </p:cNvCxnSpPr>
            <p:nvPr/>
          </p:nvCxnSpPr>
          <p:spPr>
            <a:xfrm rot="16200000" flipH="1">
              <a:off x="61384" y="4668501"/>
              <a:ext cx="1676690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55" name="Elbow Connector 154"/>
            <p:cNvCxnSpPr>
              <a:stCxn id="27" idx="2"/>
              <a:endCxn id="129" idx="1"/>
            </p:cNvCxnSpPr>
            <p:nvPr/>
          </p:nvCxnSpPr>
          <p:spPr>
            <a:xfrm rot="16200000" flipH="1">
              <a:off x="-263818" y="4993703"/>
              <a:ext cx="2327094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3" name="Elbow Connector 162"/>
            <p:cNvCxnSpPr>
              <a:stCxn id="141" idx="2"/>
              <a:endCxn id="116" idx="1"/>
            </p:cNvCxnSpPr>
            <p:nvPr/>
          </p:nvCxnSpPr>
          <p:spPr>
            <a:xfrm rot="16200000" flipH="1">
              <a:off x="4668633" y="4024485"/>
              <a:ext cx="375882" cy="125860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4" name="Elbow Connector 163"/>
            <p:cNvCxnSpPr>
              <a:stCxn id="141" idx="2"/>
              <a:endCxn id="117" idx="1"/>
            </p:cNvCxnSpPr>
            <p:nvPr/>
          </p:nvCxnSpPr>
          <p:spPr>
            <a:xfrm rot="16200000" flipH="1">
              <a:off x="4343431" y="4349687"/>
              <a:ext cx="1026286" cy="125860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5" name="Elbow Connector 164"/>
            <p:cNvCxnSpPr>
              <a:stCxn id="142" idx="2"/>
              <a:endCxn id="114" idx="1"/>
            </p:cNvCxnSpPr>
            <p:nvPr/>
          </p:nvCxnSpPr>
          <p:spPr>
            <a:xfrm rot="16200000" flipH="1">
              <a:off x="6484686" y="4349478"/>
              <a:ext cx="1026286" cy="126277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6" name="Elbow Connector 165"/>
            <p:cNvCxnSpPr>
              <a:stCxn id="142" idx="2"/>
              <a:endCxn id="115" idx="1"/>
            </p:cNvCxnSpPr>
            <p:nvPr/>
          </p:nvCxnSpPr>
          <p:spPr>
            <a:xfrm rot="16200000" flipH="1">
              <a:off x="6809888" y="4024276"/>
              <a:ext cx="375882" cy="126277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61" name="NumberBall"/>
            <p:cNvSpPr>
              <a:spLocks noChangeArrowheads="1"/>
            </p:cNvSpPr>
            <p:nvPr/>
          </p:nvSpPr>
          <p:spPr bwMode="gray">
            <a:xfrm>
              <a:off x="574026" y="319832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600" b="1" dirty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</a:t>
              </a:r>
            </a:p>
          </p:txBody>
        </p:sp>
        <p:sp>
          <p:nvSpPr>
            <p:cNvPr id="62" name="NumberBall"/>
            <p:cNvSpPr>
              <a:spLocks noChangeArrowheads="1"/>
            </p:cNvSpPr>
            <p:nvPr/>
          </p:nvSpPr>
          <p:spPr bwMode="gray">
            <a:xfrm>
              <a:off x="4535489" y="319832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600" b="1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2</a:t>
              </a:r>
              <a:endPara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63" name="NumberBall"/>
            <p:cNvSpPr>
              <a:spLocks noChangeArrowheads="1"/>
            </p:cNvSpPr>
            <p:nvPr/>
          </p:nvSpPr>
          <p:spPr bwMode="gray">
            <a:xfrm>
              <a:off x="6702554" y="319832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600" b="1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3</a:t>
              </a:r>
              <a:endPara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3" name="NumberBall"/>
            <p:cNvSpPr>
              <a:spLocks noChangeArrowheads="1"/>
            </p:cNvSpPr>
            <p:nvPr/>
          </p:nvSpPr>
          <p:spPr bwMode="gray">
            <a:xfrm>
              <a:off x="867072" y="394340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1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4" name="NumberBall"/>
            <p:cNvSpPr>
              <a:spLocks noChangeArrowheads="1"/>
            </p:cNvSpPr>
            <p:nvPr/>
          </p:nvSpPr>
          <p:spPr bwMode="gray">
            <a:xfrm>
              <a:off x="4815835" y="394340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2.1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5" name="NumberBall"/>
            <p:cNvSpPr>
              <a:spLocks noChangeArrowheads="1"/>
            </p:cNvSpPr>
            <p:nvPr/>
          </p:nvSpPr>
          <p:spPr bwMode="gray">
            <a:xfrm>
              <a:off x="6982900" y="394340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3.1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6" name="NumberBall"/>
            <p:cNvSpPr>
              <a:spLocks noChangeArrowheads="1"/>
            </p:cNvSpPr>
            <p:nvPr/>
          </p:nvSpPr>
          <p:spPr bwMode="gray">
            <a:xfrm>
              <a:off x="867072" y="4590180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2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7" name="NumberBall"/>
            <p:cNvSpPr>
              <a:spLocks noChangeArrowheads="1"/>
            </p:cNvSpPr>
            <p:nvPr/>
          </p:nvSpPr>
          <p:spPr bwMode="gray">
            <a:xfrm>
              <a:off x="4815835" y="4590180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2.2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8" name="NumberBall"/>
            <p:cNvSpPr>
              <a:spLocks noChangeArrowheads="1"/>
            </p:cNvSpPr>
            <p:nvPr/>
          </p:nvSpPr>
          <p:spPr bwMode="gray">
            <a:xfrm>
              <a:off x="6982900" y="4590180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3.2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9" name="NumberBall"/>
            <p:cNvSpPr>
              <a:spLocks noChangeArrowheads="1"/>
            </p:cNvSpPr>
            <p:nvPr/>
          </p:nvSpPr>
          <p:spPr bwMode="gray">
            <a:xfrm>
              <a:off x="867072" y="524314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3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80" name="NumberBall"/>
            <p:cNvSpPr>
              <a:spLocks noChangeArrowheads="1"/>
            </p:cNvSpPr>
            <p:nvPr/>
          </p:nvSpPr>
          <p:spPr bwMode="gray">
            <a:xfrm>
              <a:off x="867072" y="5893508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4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81" name="NumberBall"/>
            <p:cNvSpPr>
              <a:spLocks noChangeArrowheads="1"/>
            </p:cNvSpPr>
            <p:nvPr/>
          </p:nvSpPr>
          <p:spPr bwMode="gray">
            <a:xfrm>
              <a:off x="2688958" y="394340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5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82" name="NumberBall"/>
            <p:cNvSpPr>
              <a:spLocks noChangeArrowheads="1"/>
            </p:cNvSpPr>
            <p:nvPr/>
          </p:nvSpPr>
          <p:spPr bwMode="gray">
            <a:xfrm>
              <a:off x="2688958" y="4590180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6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83" name="NumberBall"/>
            <p:cNvSpPr>
              <a:spLocks noChangeArrowheads="1"/>
            </p:cNvSpPr>
            <p:nvPr/>
          </p:nvSpPr>
          <p:spPr bwMode="gray">
            <a:xfrm>
              <a:off x="2688958" y="524314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7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551324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Rectangle 68"/>
          <p:cNvSpPr/>
          <p:nvPr/>
        </p:nvSpPr>
        <p:spPr>
          <a:xfrm>
            <a:off x="158751" y="6161839"/>
            <a:ext cx="5246968" cy="6042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61919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0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Unit </a:t>
            </a:r>
            <a:r>
              <a:rPr lang="cs-CZ" dirty="0" err="1" smtClean="0"/>
              <a:t>testing</a:t>
            </a:r>
            <a:r>
              <a:rPr lang="cs-CZ" dirty="0" smtClean="0"/>
              <a:t> </a:t>
            </a:r>
            <a:r>
              <a:rPr lang="cs-CZ" dirty="0" err="1" smtClean="0"/>
              <a:t>overview</a:t>
            </a:r>
            <a:endParaRPr lang="cs-CZ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27638" y="2339430"/>
            <a:ext cx="5063229" cy="4426660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1864225" y="2380966"/>
            <a:ext cx="946149" cy="999447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0" name="Rectangle 29"/>
          <p:cNvSpPr/>
          <p:nvPr/>
        </p:nvSpPr>
        <p:spPr>
          <a:xfrm>
            <a:off x="5299829" y="2716777"/>
            <a:ext cx="1107572" cy="1232283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6" name="Rectangle 35"/>
          <p:cNvSpPr/>
          <p:nvPr/>
        </p:nvSpPr>
        <p:spPr>
          <a:xfrm>
            <a:off x="5299829" y="2339430"/>
            <a:ext cx="1107572" cy="377348"/>
          </a:xfrm>
          <a:prstGeom prst="rect">
            <a:avLst/>
          </a:prstGeom>
          <a:solidFill>
            <a:schemeClr val="accent1">
              <a:alpha val="4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7" name="Rectangle 36"/>
          <p:cNvSpPr/>
          <p:nvPr/>
        </p:nvSpPr>
        <p:spPr>
          <a:xfrm>
            <a:off x="4135700" y="3377294"/>
            <a:ext cx="1079608" cy="1175466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1" name="Rectangle 40"/>
          <p:cNvSpPr/>
          <p:nvPr/>
        </p:nvSpPr>
        <p:spPr>
          <a:xfrm>
            <a:off x="2810374" y="3381296"/>
            <a:ext cx="1325326" cy="1171464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8" name="Rectangle 37"/>
          <p:cNvSpPr/>
          <p:nvPr/>
        </p:nvSpPr>
        <p:spPr>
          <a:xfrm>
            <a:off x="1864225" y="3381296"/>
            <a:ext cx="946149" cy="1171464"/>
          </a:xfrm>
          <a:prstGeom prst="rect">
            <a:avLst/>
          </a:prstGeom>
          <a:solidFill>
            <a:schemeClr val="accent1">
              <a:alpha val="4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1" name="Rectangle 30"/>
          <p:cNvSpPr/>
          <p:nvPr/>
        </p:nvSpPr>
        <p:spPr>
          <a:xfrm>
            <a:off x="1262537" y="5693470"/>
            <a:ext cx="1037763" cy="1072619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2" name="Rectangle 31"/>
          <p:cNvSpPr/>
          <p:nvPr/>
        </p:nvSpPr>
        <p:spPr>
          <a:xfrm>
            <a:off x="2572858" y="4552760"/>
            <a:ext cx="2642450" cy="1095225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3" name="Rectangle 32"/>
          <p:cNvSpPr/>
          <p:nvPr/>
        </p:nvSpPr>
        <p:spPr>
          <a:xfrm>
            <a:off x="1262537" y="3687707"/>
            <a:ext cx="601688" cy="865053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5" name="Rectangle 34"/>
          <p:cNvSpPr/>
          <p:nvPr/>
        </p:nvSpPr>
        <p:spPr>
          <a:xfrm>
            <a:off x="1262537" y="2380967"/>
            <a:ext cx="598549" cy="671516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9" name="Rectangle 38"/>
          <p:cNvSpPr/>
          <p:nvPr/>
        </p:nvSpPr>
        <p:spPr>
          <a:xfrm>
            <a:off x="2810374" y="2380967"/>
            <a:ext cx="1117548" cy="1000329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0" name="Rectangle 39"/>
          <p:cNvSpPr/>
          <p:nvPr/>
        </p:nvSpPr>
        <p:spPr>
          <a:xfrm>
            <a:off x="3927922" y="2380967"/>
            <a:ext cx="1287386" cy="996327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2" name="Rectangle 41"/>
          <p:cNvSpPr/>
          <p:nvPr/>
        </p:nvSpPr>
        <p:spPr>
          <a:xfrm>
            <a:off x="1262537" y="3052483"/>
            <a:ext cx="598549" cy="632104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3" name="Rectangle 42"/>
          <p:cNvSpPr/>
          <p:nvPr/>
        </p:nvSpPr>
        <p:spPr>
          <a:xfrm>
            <a:off x="2300300" y="5693470"/>
            <a:ext cx="1109650" cy="1072619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4" name="NumberBall"/>
          <p:cNvSpPr>
            <a:spLocks noChangeArrowheads="1"/>
          </p:cNvSpPr>
          <p:nvPr/>
        </p:nvSpPr>
        <p:spPr bwMode="gray">
          <a:xfrm>
            <a:off x="1080000" y="226106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</a:t>
            </a:r>
          </a:p>
        </p:txBody>
      </p:sp>
      <p:sp>
        <p:nvSpPr>
          <p:cNvPr id="53" name="NumberBall"/>
          <p:cNvSpPr>
            <a:spLocks noChangeArrowheads="1"/>
          </p:cNvSpPr>
          <p:nvPr/>
        </p:nvSpPr>
        <p:spPr bwMode="gray">
          <a:xfrm>
            <a:off x="3782734" y="330199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3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5" name="NumberBall"/>
          <p:cNvSpPr>
            <a:spLocks noChangeArrowheads="1"/>
          </p:cNvSpPr>
          <p:nvPr/>
        </p:nvSpPr>
        <p:spPr bwMode="gray">
          <a:xfrm>
            <a:off x="6077094" y="226106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8" name="NumberBall"/>
          <p:cNvSpPr>
            <a:spLocks noChangeArrowheads="1"/>
          </p:cNvSpPr>
          <p:nvPr/>
        </p:nvSpPr>
        <p:spPr bwMode="gray">
          <a:xfrm>
            <a:off x="5541019" y="235969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1" name="NumberBall"/>
          <p:cNvSpPr>
            <a:spLocks noChangeArrowheads="1"/>
          </p:cNvSpPr>
          <p:nvPr/>
        </p:nvSpPr>
        <p:spPr bwMode="gray">
          <a:xfrm>
            <a:off x="5700317" y="306680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6" name="NumberBall"/>
          <p:cNvSpPr>
            <a:spLocks noChangeArrowheads="1"/>
          </p:cNvSpPr>
          <p:nvPr/>
        </p:nvSpPr>
        <p:spPr bwMode="gray">
          <a:xfrm>
            <a:off x="1355775" y="577471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9" name="NumberBall"/>
          <p:cNvSpPr>
            <a:spLocks noChangeArrowheads="1"/>
          </p:cNvSpPr>
          <p:nvPr/>
        </p:nvSpPr>
        <p:spPr bwMode="gray">
          <a:xfrm>
            <a:off x="1779187" y="601420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2" name="NumberBall"/>
          <p:cNvSpPr>
            <a:spLocks noChangeArrowheads="1"/>
          </p:cNvSpPr>
          <p:nvPr/>
        </p:nvSpPr>
        <p:spPr bwMode="gray">
          <a:xfrm>
            <a:off x="2626011" y="616183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7" name="NumberBall"/>
          <p:cNvSpPr>
            <a:spLocks noChangeArrowheads="1"/>
          </p:cNvSpPr>
          <p:nvPr/>
        </p:nvSpPr>
        <p:spPr bwMode="gray">
          <a:xfrm>
            <a:off x="3842054" y="491277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7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7" name="NumberBall"/>
          <p:cNvSpPr>
            <a:spLocks noChangeArrowheads="1"/>
          </p:cNvSpPr>
          <p:nvPr/>
        </p:nvSpPr>
        <p:spPr bwMode="gray">
          <a:xfrm>
            <a:off x="1489623" y="255634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0" name="NumberBall"/>
          <p:cNvSpPr>
            <a:spLocks noChangeArrowheads="1"/>
          </p:cNvSpPr>
          <p:nvPr/>
        </p:nvSpPr>
        <p:spPr bwMode="gray">
          <a:xfrm>
            <a:off x="2139898" y="2740296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5" name="NumberBall"/>
          <p:cNvSpPr>
            <a:spLocks noChangeArrowheads="1"/>
          </p:cNvSpPr>
          <p:nvPr/>
        </p:nvSpPr>
        <p:spPr bwMode="gray">
          <a:xfrm>
            <a:off x="2041211" y="362726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5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4" name="NumberBall"/>
          <p:cNvSpPr>
            <a:spLocks noChangeArrowheads="1"/>
          </p:cNvSpPr>
          <p:nvPr/>
        </p:nvSpPr>
        <p:spPr bwMode="gray">
          <a:xfrm>
            <a:off x="1375275" y="400084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4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1262537" y="4551638"/>
            <a:ext cx="1310320" cy="1096347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56" name="NumberBall"/>
          <p:cNvSpPr>
            <a:spLocks noChangeArrowheads="1"/>
          </p:cNvSpPr>
          <p:nvPr/>
        </p:nvSpPr>
        <p:spPr bwMode="gray">
          <a:xfrm>
            <a:off x="1631549" y="514267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6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grpSp>
        <p:nvGrpSpPr>
          <p:cNvPr id="58" name="Group 57"/>
          <p:cNvGrpSpPr/>
          <p:nvPr/>
        </p:nvGrpSpPr>
        <p:grpSpPr>
          <a:xfrm>
            <a:off x="5631557" y="4242977"/>
            <a:ext cx="1994931" cy="2523112"/>
            <a:chOff x="6211166" y="4296116"/>
            <a:chExt cx="1994931" cy="2523112"/>
          </a:xfrm>
        </p:grpSpPr>
        <p:sp>
          <p:nvSpPr>
            <p:cNvPr id="59" name="Rectangle 4"/>
            <p:cNvSpPr>
              <a:spLocks noChangeArrowheads="1"/>
            </p:cNvSpPr>
            <p:nvPr/>
          </p:nvSpPr>
          <p:spPr bwMode="gray">
            <a:xfrm>
              <a:off x="6211166" y="4296116"/>
              <a:ext cx="1994931" cy="430887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 type="none" w="lg" len="lg"/>
              <a:tailEnd type="none" w="lg" len="lg"/>
            </a:ln>
            <a:effectLst>
              <a:outerShdw dist="25400" dir="5400000" sx="99000" sy="99000" algn="ctr" rotWithShape="0">
                <a:schemeClr val="accent5"/>
              </a:outerShdw>
            </a:effectLst>
          </p:spPr>
          <p:txBody>
            <a:bodyPr wrap="square" tIns="91440" bIns="91440" anchor="b">
              <a:spAutoFit/>
            </a:bodyPr>
            <a:lstStyle/>
            <a:p>
              <a:pPr algn="ctr"/>
              <a:r>
                <a:rPr lang="en-US" sz="1600" b="1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Legend</a:t>
              </a:r>
              <a:endParaRPr lang="en-US" sz="16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0" name="Rectangle 59"/>
            <p:cNvSpPr/>
            <p:nvPr/>
          </p:nvSpPr>
          <p:spPr>
            <a:xfrm>
              <a:off x="6713605" y="4801042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ot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tarted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1" name="Rectangle 60"/>
            <p:cNvSpPr/>
            <p:nvPr/>
          </p:nvSpPr>
          <p:spPr>
            <a:xfrm>
              <a:off x="6713605" y="5290757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gress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2" name="Rectangle 61"/>
            <p:cNvSpPr/>
            <p:nvPr/>
          </p:nvSpPr>
          <p:spPr>
            <a:xfrm>
              <a:off x="6713605" y="5780472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inished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3" name="Rectangle 62"/>
            <p:cNvSpPr/>
            <p:nvPr/>
          </p:nvSpPr>
          <p:spPr>
            <a:xfrm>
              <a:off x="6713605" y="6270186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hange</a:t>
              </a:r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quest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5" name="Rectangle 64"/>
            <p:cNvSpPr/>
            <p:nvPr/>
          </p:nvSpPr>
          <p:spPr>
            <a:xfrm>
              <a:off x="6267196" y="5439278"/>
              <a:ext cx="396000" cy="252000"/>
            </a:xfrm>
            <a:prstGeom prst="rect">
              <a:avLst/>
            </a:prstGeom>
            <a:solidFill>
              <a:schemeClr val="accent4">
                <a:alpha val="4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66" name="Rectangle 65"/>
            <p:cNvSpPr/>
            <p:nvPr/>
          </p:nvSpPr>
          <p:spPr>
            <a:xfrm>
              <a:off x="6267196" y="4949563"/>
              <a:ext cx="396000" cy="252000"/>
            </a:xfrm>
            <a:prstGeom prst="rect">
              <a:avLst/>
            </a:prstGeom>
            <a:solidFill>
              <a:schemeClr val="accent2">
                <a:alpha val="4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67" name="Rectangle 66"/>
            <p:cNvSpPr/>
            <p:nvPr/>
          </p:nvSpPr>
          <p:spPr>
            <a:xfrm>
              <a:off x="6267196" y="5928993"/>
              <a:ext cx="396000" cy="252000"/>
            </a:xfrm>
            <a:prstGeom prst="rect">
              <a:avLst/>
            </a:prstGeom>
            <a:solidFill>
              <a:schemeClr val="accent6">
                <a:alpha val="40000"/>
              </a:schemeClr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68" name="Rectangle 67"/>
            <p:cNvSpPr/>
            <p:nvPr/>
          </p:nvSpPr>
          <p:spPr>
            <a:xfrm>
              <a:off x="6267196" y="6418707"/>
              <a:ext cx="396000" cy="252000"/>
            </a:xfrm>
            <a:prstGeom prst="rect">
              <a:avLst/>
            </a:prstGeom>
            <a:solidFill>
              <a:schemeClr val="accent1">
                <a:alpha val="4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</p:grpSp>
    </p:spTree>
    <p:extLst>
      <p:ext uri="{BB962C8B-B14F-4D97-AF65-F5344CB8AC3E}">
        <p14:creationId xmlns:p14="http://schemas.microsoft.com/office/powerpoint/2010/main" val="22477026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79656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9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oals for this Meeting</a:t>
            </a:r>
            <a:endParaRPr lang="cs-CZ" dirty="0"/>
          </a:p>
        </p:txBody>
      </p:sp>
      <p:grpSp>
        <p:nvGrpSpPr>
          <p:cNvPr id="4" name="Group 3"/>
          <p:cNvGrpSpPr/>
          <p:nvPr/>
        </p:nvGrpSpPr>
        <p:grpSpPr>
          <a:xfrm>
            <a:off x="1150951" y="2554337"/>
            <a:ext cx="7723048" cy="3702316"/>
            <a:chOff x="1150951" y="2677794"/>
            <a:chExt cx="7723048" cy="3702316"/>
          </a:xfrm>
        </p:grpSpPr>
        <p:sp>
          <p:nvSpPr>
            <p:cNvPr id="6" name="Rectangle 3"/>
            <p:cNvSpPr>
              <a:spLocks noChangeArrowheads="1"/>
            </p:cNvSpPr>
            <p:nvPr/>
          </p:nvSpPr>
          <p:spPr bwMode="auto">
            <a:xfrm>
              <a:off x="1284408" y="4595084"/>
              <a:ext cx="7589591" cy="499326"/>
            </a:xfrm>
            <a:prstGeom prst="rect">
              <a:avLst/>
            </a:prstGeom>
            <a:gradFill>
              <a:gsLst>
                <a:gs pos="20000">
                  <a:schemeClr val="bg2"/>
                </a:gs>
                <a:gs pos="100000">
                  <a:schemeClr val="bg1"/>
                </a:gs>
              </a:gsLst>
              <a:lin ang="0" scaled="0"/>
            </a:gradFill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lIns="504000" tIns="91440" rIns="180000" bIns="91440" anchor="ctr"/>
            <a:lstStyle/>
            <a:p>
              <a:r>
                <a:rPr lang="cs-CZ" sz="2000" b="1" dirty="0" err="1"/>
                <a:t>Review</a:t>
              </a:r>
              <a:r>
                <a:rPr lang="cs-CZ" sz="2000" b="1" dirty="0"/>
                <a:t> </a:t>
              </a:r>
              <a:r>
                <a:rPr lang="cs-CZ" sz="2000" b="1" dirty="0" err="1"/>
                <a:t>code</a:t>
              </a:r>
              <a:r>
                <a:rPr lang="cs-CZ" sz="2000" b="1" dirty="0"/>
                <a:t> </a:t>
              </a:r>
              <a:r>
                <a:rPr lang="cs-CZ" sz="2000" b="1" dirty="0" err="1" smtClean="0"/>
                <a:t>testing</a:t>
              </a:r>
              <a:r>
                <a:rPr lang="cs-CZ" sz="2000" b="1" dirty="0" smtClean="0"/>
                <a:t> </a:t>
              </a:r>
              <a:r>
                <a:rPr lang="cs-CZ" sz="2000" b="1" dirty="0" err="1" smtClean="0"/>
                <a:t>progress</a:t>
              </a:r>
              <a:endParaRPr lang="en-US" sz="2000" b="1" dirty="0"/>
            </a:p>
          </p:txBody>
        </p:sp>
        <p:sp>
          <p:nvSpPr>
            <p:cNvPr id="7" name="AutoShape 5"/>
            <p:cNvSpPr>
              <a:spLocks noChangeArrowheads="1"/>
            </p:cNvSpPr>
            <p:nvPr/>
          </p:nvSpPr>
          <p:spPr bwMode="auto">
            <a:xfrm>
              <a:off x="1285278" y="4595084"/>
              <a:ext cx="314080" cy="318545"/>
            </a:xfrm>
            <a:prstGeom prst="rtTriangle">
              <a:avLst/>
            </a:prstGeom>
            <a:solidFill>
              <a:schemeClr val="accent1">
                <a:lumMod val="60000"/>
                <a:lumOff val="40000"/>
              </a:schemeClr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 sz="1600"/>
            </a:p>
          </p:txBody>
        </p:sp>
        <p:sp>
          <p:nvSpPr>
            <p:cNvPr id="8" name="Freeform 7"/>
            <p:cNvSpPr>
              <a:spLocks/>
            </p:cNvSpPr>
            <p:nvPr/>
          </p:nvSpPr>
          <p:spPr bwMode="auto">
            <a:xfrm>
              <a:off x="1171330" y="4913629"/>
              <a:ext cx="428028" cy="499327"/>
            </a:xfrm>
            <a:custGeom>
              <a:avLst/>
              <a:gdLst/>
              <a:ahLst/>
              <a:cxnLst>
                <a:cxn ang="0">
                  <a:pos x="1310" y="0"/>
                </a:cxn>
                <a:cxn ang="0">
                  <a:pos x="1310" y="459"/>
                </a:cxn>
                <a:cxn ang="0">
                  <a:pos x="0" y="460"/>
                </a:cxn>
                <a:cxn ang="0">
                  <a:pos x="1" y="0"/>
                </a:cxn>
                <a:cxn ang="0">
                  <a:pos x="1310" y="0"/>
                </a:cxn>
              </a:cxnLst>
              <a:rect l="0" t="0" r="r" b="b"/>
              <a:pathLst>
                <a:path w="1310" h="460">
                  <a:moveTo>
                    <a:pt x="1310" y="0"/>
                  </a:moveTo>
                  <a:lnTo>
                    <a:pt x="1310" y="459"/>
                  </a:lnTo>
                  <a:lnTo>
                    <a:pt x="0" y="460"/>
                  </a:lnTo>
                  <a:lnTo>
                    <a:pt x="1" y="0"/>
                  </a:lnTo>
                  <a:lnTo>
                    <a:pt x="1310" y="0"/>
                  </a:lnTo>
                  <a:close/>
                </a:path>
              </a:pathLst>
            </a:custGeom>
            <a:solidFill>
              <a:srgbClr val="4472C4"/>
            </a:solidFill>
            <a:ln w="12700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endParaRPr lang="en-US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9" name="Right Arrow 8"/>
            <p:cNvSpPr/>
            <p:nvPr/>
          </p:nvSpPr>
          <p:spPr>
            <a:xfrm>
              <a:off x="1150951" y="4996723"/>
              <a:ext cx="284148" cy="333138"/>
            </a:xfrm>
            <a:prstGeom prst="rightArrow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bg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" name="Rectangle 3"/>
            <p:cNvSpPr>
              <a:spLocks noChangeArrowheads="1"/>
            </p:cNvSpPr>
            <p:nvPr/>
          </p:nvSpPr>
          <p:spPr bwMode="auto">
            <a:xfrm>
              <a:off x="1284408" y="5562238"/>
              <a:ext cx="7589591" cy="499326"/>
            </a:xfrm>
            <a:prstGeom prst="rect">
              <a:avLst/>
            </a:prstGeom>
            <a:gradFill>
              <a:gsLst>
                <a:gs pos="20000">
                  <a:schemeClr val="bg2"/>
                </a:gs>
                <a:gs pos="100000">
                  <a:schemeClr val="bg1"/>
                </a:gs>
              </a:gsLst>
              <a:lin ang="0" scaled="0"/>
            </a:gradFill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lIns="504000" tIns="91440" rIns="180000" bIns="91440" anchor="ctr"/>
            <a:lstStyle/>
            <a:p>
              <a:r>
                <a:rPr lang="cs-CZ" sz="2000" b="1" dirty="0" err="1" smtClean="0"/>
                <a:t>Define</a:t>
              </a:r>
              <a:r>
                <a:rPr lang="cs-CZ" sz="2000" b="1" dirty="0" smtClean="0"/>
                <a:t> </a:t>
              </a:r>
              <a:r>
                <a:rPr lang="cs-CZ" sz="2000" b="1" dirty="0" err="1" smtClean="0"/>
                <a:t>next</a:t>
              </a:r>
              <a:r>
                <a:rPr lang="cs-CZ" sz="2000" b="1" dirty="0" smtClean="0"/>
                <a:t> </a:t>
              </a:r>
              <a:r>
                <a:rPr lang="cs-CZ" sz="2000" b="1" dirty="0" err="1" smtClean="0"/>
                <a:t>steps</a:t>
              </a:r>
              <a:endParaRPr lang="en-US" sz="2000" b="1" dirty="0"/>
            </a:p>
          </p:txBody>
        </p:sp>
        <p:sp>
          <p:nvSpPr>
            <p:cNvPr id="11" name="AutoShape 5"/>
            <p:cNvSpPr>
              <a:spLocks noChangeArrowheads="1"/>
            </p:cNvSpPr>
            <p:nvPr/>
          </p:nvSpPr>
          <p:spPr bwMode="auto">
            <a:xfrm>
              <a:off x="1285278" y="5562238"/>
              <a:ext cx="314080" cy="318545"/>
            </a:xfrm>
            <a:prstGeom prst="rtTriangle">
              <a:avLst/>
            </a:prstGeom>
            <a:solidFill>
              <a:schemeClr val="accent1">
                <a:lumMod val="60000"/>
                <a:lumOff val="40000"/>
              </a:schemeClr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 sz="1600"/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1171330" y="5880783"/>
              <a:ext cx="428028" cy="499327"/>
            </a:xfrm>
            <a:custGeom>
              <a:avLst/>
              <a:gdLst/>
              <a:ahLst/>
              <a:cxnLst>
                <a:cxn ang="0">
                  <a:pos x="1310" y="0"/>
                </a:cxn>
                <a:cxn ang="0">
                  <a:pos x="1310" y="459"/>
                </a:cxn>
                <a:cxn ang="0">
                  <a:pos x="0" y="460"/>
                </a:cxn>
                <a:cxn ang="0">
                  <a:pos x="1" y="0"/>
                </a:cxn>
                <a:cxn ang="0">
                  <a:pos x="1310" y="0"/>
                </a:cxn>
              </a:cxnLst>
              <a:rect l="0" t="0" r="r" b="b"/>
              <a:pathLst>
                <a:path w="1310" h="460">
                  <a:moveTo>
                    <a:pt x="1310" y="0"/>
                  </a:moveTo>
                  <a:lnTo>
                    <a:pt x="1310" y="459"/>
                  </a:lnTo>
                  <a:lnTo>
                    <a:pt x="0" y="460"/>
                  </a:lnTo>
                  <a:lnTo>
                    <a:pt x="1" y="0"/>
                  </a:lnTo>
                  <a:lnTo>
                    <a:pt x="1310" y="0"/>
                  </a:lnTo>
                  <a:close/>
                </a:path>
              </a:pathLst>
            </a:custGeom>
            <a:solidFill>
              <a:srgbClr val="4472C4"/>
            </a:solidFill>
            <a:ln w="12700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endParaRPr lang="en-US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3" name="Right Arrow 12"/>
            <p:cNvSpPr/>
            <p:nvPr/>
          </p:nvSpPr>
          <p:spPr>
            <a:xfrm>
              <a:off x="1150951" y="5963877"/>
              <a:ext cx="284148" cy="333138"/>
            </a:xfrm>
            <a:prstGeom prst="rightArrow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bg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7" name="Rectangle 3"/>
            <p:cNvSpPr>
              <a:spLocks noChangeArrowheads="1"/>
            </p:cNvSpPr>
            <p:nvPr/>
          </p:nvSpPr>
          <p:spPr bwMode="auto">
            <a:xfrm>
              <a:off x="1284408" y="2677794"/>
              <a:ext cx="7589591" cy="499326"/>
            </a:xfrm>
            <a:prstGeom prst="rect">
              <a:avLst/>
            </a:prstGeom>
            <a:gradFill>
              <a:gsLst>
                <a:gs pos="20000">
                  <a:schemeClr val="bg2"/>
                </a:gs>
                <a:gs pos="100000">
                  <a:schemeClr val="bg1"/>
                </a:gs>
              </a:gsLst>
              <a:lin ang="0" scaled="0"/>
            </a:gradFill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lIns="504000" tIns="91440" rIns="180000" bIns="91440" anchor="ctr"/>
            <a:lstStyle/>
            <a:p>
              <a:r>
                <a:rPr lang="en-US" sz="2000" b="1" dirty="0"/>
                <a:t>Present </a:t>
              </a:r>
              <a:r>
                <a:rPr lang="en-US" sz="2000" b="1" dirty="0" smtClean="0"/>
                <a:t>overview of project</a:t>
              </a:r>
              <a:r>
                <a:rPr lang="cs-CZ" sz="2000" b="1" dirty="0" smtClean="0"/>
                <a:t> status</a:t>
              </a:r>
              <a:endParaRPr lang="en-US" sz="2000" b="1" dirty="0"/>
            </a:p>
          </p:txBody>
        </p:sp>
        <p:sp>
          <p:nvSpPr>
            <p:cNvPr id="18" name="AutoShape 5"/>
            <p:cNvSpPr>
              <a:spLocks noChangeArrowheads="1"/>
            </p:cNvSpPr>
            <p:nvPr/>
          </p:nvSpPr>
          <p:spPr bwMode="auto">
            <a:xfrm>
              <a:off x="1285278" y="2677794"/>
              <a:ext cx="314080" cy="318545"/>
            </a:xfrm>
            <a:prstGeom prst="rtTriangle">
              <a:avLst/>
            </a:prstGeom>
            <a:solidFill>
              <a:schemeClr val="accent1">
                <a:lumMod val="60000"/>
                <a:lumOff val="40000"/>
              </a:schemeClr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 sz="1600"/>
            </a:p>
          </p:txBody>
        </p:sp>
        <p:sp>
          <p:nvSpPr>
            <p:cNvPr id="19" name="Freeform 18"/>
            <p:cNvSpPr>
              <a:spLocks/>
            </p:cNvSpPr>
            <p:nvPr/>
          </p:nvSpPr>
          <p:spPr bwMode="auto">
            <a:xfrm>
              <a:off x="1171330" y="2996339"/>
              <a:ext cx="428028" cy="499327"/>
            </a:xfrm>
            <a:custGeom>
              <a:avLst/>
              <a:gdLst/>
              <a:ahLst/>
              <a:cxnLst>
                <a:cxn ang="0">
                  <a:pos x="1310" y="0"/>
                </a:cxn>
                <a:cxn ang="0">
                  <a:pos x="1310" y="459"/>
                </a:cxn>
                <a:cxn ang="0">
                  <a:pos x="0" y="460"/>
                </a:cxn>
                <a:cxn ang="0">
                  <a:pos x="1" y="0"/>
                </a:cxn>
                <a:cxn ang="0">
                  <a:pos x="1310" y="0"/>
                </a:cxn>
              </a:cxnLst>
              <a:rect l="0" t="0" r="r" b="b"/>
              <a:pathLst>
                <a:path w="1310" h="460">
                  <a:moveTo>
                    <a:pt x="1310" y="0"/>
                  </a:moveTo>
                  <a:lnTo>
                    <a:pt x="1310" y="459"/>
                  </a:lnTo>
                  <a:lnTo>
                    <a:pt x="0" y="460"/>
                  </a:lnTo>
                  <a:lnTo>
                    <a:pt x="1" y="0"/>
                  </a:lnTo>
                  <a:lnTo>
                    <a:pt x="1310" y="0"/>
                  </a:lnTo>
                  <a:close/>
                </a:path>
              </a:pathLst>
            </a:custGeom>
            <a:solidFill>
              <a:srgbClr val="4472C4"/>
            </a:solidFill>
            <a:ln w="12700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endParaRPr lang="en-US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20" name="Right Arrow 19"/>
            <p:cNvSpPr/>
            <p:nvPr/>
          </p:nvSpPr>
          <p:spPr>
            <a:xfrm>
              <a:off x="1150951" y="3079433"/>
              <a:ext cx="284148" cy="333138"/>
            </a:xfrm>
            <a:prstGeom prst="rightArrow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bg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2" name="Rectangle 3"/>
            <p:cNvSpPr>
              <a:spLocks noChangeArrowheads="1"/>
            </p:cNvSpPr>
            <p:nvPr/>
          </p:nvSpPr>
          <p:spPr bwMode="auto">
            <a:xfrm>
              <a:off x="1284408" y="3644948"/>
              <a:ext cx="7589591" cy="499326"/>
            </a:xfrm>
            <a:prstGeom prst="rect">
              <a:avLst/>
            </a:prstGeom>
            <a:gradFill>
              <a:gsLst>
                <a:gs pos="20000">
                  <a:schemeClr val="bg2"/>
                </a:gs>
                <a:gs pos="100000">
                  <a:schemeClr val="bg1"/>
                </a:gs>
              </a:gsLst>
              <a:lin ang="0" scaled="0"/>
            </a:gradFill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lIns="504000" tIns="91440" rIns="180000" bIns="91440" anchor="ctr"/>
            <a:lstStyle/>
            <a:p>
              <a:r>
                <a:rPr lang="cs-CZ" sz="2000" b="1" dirty="0" err="1" smtClean="0"/>
                <a:t>Review</a:t>
              </a:r>
              <a:r>
                <a:rPr lang="cs-CZ" sz="2000" b="1" dirty="0" smtClean="0"/>
                <a:t> </a:t>
              </a:r>
              <a:r>
                <a:rPr lang="cs-CZ" sz="2000" b="1" dirty="0" err="1" smtClean="0"/>
                <a:t>code</a:t>
              </a:r>
              <a:r>
                <a:rPr lang="cs-CZ" sz="2000" b="1" dirty="0" smtClean="0"/>
                <a:t> </a:t>
              </a:r>
              <a:r>
                <a:rPr lang="cs-CZ" sz="2000" b="1" dirty="0" err="1" smtClean="0"/>
                <a:t>translating</a:t>
              </a:r>
              <a:r>
                <a:rPr lang="cs-CZ" sz="2000" b="1" dirty="0" smtClean="0"/>
                <a:t> </a:t>
              </a:r>
              <a:r>
                <a:rPr lang="cs-CZ" sz="2000" b="1" dirty="0" err="1" smtClean="0"/>
                <a:t>progress</a:t>
              </a:r>
              <a:endParaRPr lang="en-US" sz="2000" b="1" dirty="0"/>
            </a:p>
          </p:txBody>
        </p:sp>
        <p:sp>
          <p:nvSpPr>
            <p:cNvPr id="23" name="AutoShape 5"/>
            <p:cNvSpPr>
              <a:spLocks noChangeArrowheads="1"/>
            </p:cNvSpPr>
            <p:nvPr/>
          </p:nvSpPr>
          <p:spPr bwMode="auto">
            <a:xfrm>
              <a:off x="1285278" y="3644948"/>
              <a:ext cx="314080" cy="318545"/>
            </a:xfrm>
            <a:prstGeom prst="rtTriangle">
              <a:avLst/>
            </a:prstGeom>
            <a:solidFill>
              <a:schemeClr val="accent1">
                <a:lumMod val="60000"/>
                <a:lumOff val="40000"/>
              </a:schemeClr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 sz="1600"/>
            </a:p>
          </p:txBody>
        </p:sp>
        <p:sp>
          <p:nvSpPr>
            <p:cNvPr id="24" name="Freeform 23"/>
            <p:cNvSpPr>
              <a:spLocks/>
            </p:cNvSpPr>
            <p:nvPr/>
          </p:nvSpPr>
          <p:spPr bwMode="auto">
            <a:xfrm>
              <a:off x="1171330" y="3963493"/>
              <a:ext cx="428028" cy="499327"/>
            </a:xfrm>
            <a:custGeom>
              <a:avLst/>
              <a:gdLst/>
              <a:ahLst/>
              <a:cxnLst>
                <a:cxn ang="0">
                  <a:pos x="1310" y="0"/>
                </a:cxn>
                <a:cxn ang="0">
                  <a:pos x="1310" y="459"/>
                </a:cxn>
                <a:cxn ang="0">
                  <a:pos x="0" y="460"/>
                </a:cxn>
                <a:cxn ang="0">
                  <a:pos x="1" y="0"/>
                </a:cxn>
                <a:cxn ang="0">
                  <a:pos x="1310" y="0"/>
                </a:cxn>
              </a:cxnLst>
              <a:rect l="0" t="0" r="r" b="b"/>
              <a:pathLst>
                <a:path w="1310" h="460">
                  <a:moveTo>
                    <a:pt x="1310" y="0"/>
                  </a:moveTo>
                  <a:lnTo>
                    <a:pt x="1310" y="459"/>
                  </a:lnTo>
                  <a:lnTo>
                    <a:pt x="0" y="460"/>
                  </a:lnTo>
                  <a:lnTo>
                    <a:pt x="1" y="0"/>
                  </a:lnTo>
                  <a:lnTo>
                    <a:pt x="1310" y="0"/>
                  </a:lnTo>
                  <a:close/>
                </a:path>
              </a:pathLst>
            </a:custGeom>
            <a:solidFill>
              <a:srgbClr val="4472C4"/>
            </a:solidFill>
            <a:ln w="12700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endParaRPr lang="en-US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25" name="Right Arrow 24"/>
            <p:cNvSpPr/>
            <p:nvPr/>
          </p:nvSpPr>
          <p:spPr>
            <a:xfrm>
              <a:off x="1150951" y="4046587"/>
              <a:ext cx="284148" cy="333138"/>
            </a:xfrm>
            <a:prstGeom prst="rightArrow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bg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410070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0" y="3568050"/>
            <a:ext cx="9144000" cy="736822"/>
          </a:xfrm>
          <a:solidFill>
            <a:schemeClr val="accent5"/>
          </a:solidFill>
        </p:spPr>
        <p:txBody>
          <a:bodyPr anchor="ctr"/>
          <a:lstStyle/>
          <a:p>
            <a:pPr algn="ctr"/>
            <a:r>
              <a:rPr lang="cs-CZ" dirty="0" smtClean="0">
                <a:solidFill>
                  <a:schemeClr val="bg1"/>
                </a:solidFill>
              </a:rPr>
              <a:t>Project team </a:t>
            </a:r>
            <a:r>
              <a:rPr lang="cs-CZ" dirty="0" err="1" smtClean="0">
                <a:solidFill>
                  <a:schemeClr val="bg1"/>
                </a:solidFill>
              </a:rPr>
              <a:t>assesment</a:t>
            </a:r>
            <a:endParaRPr lang="cs-CZ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71449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48652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5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ject Team</a:t>
            </a:r>
            <a:r>
              <a:rPr lang="cs-CZ" dirty="0" smtClean="0"/>
              <a:t> Update</a:t>
            </a:r>
            <a:endParaRPr lang="cs-CZ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38767206"/>
              </p:ext>
            </p:extLst>
          </p:nvPr>
        </p:nvGraphicFramePr>
        <p:xfrm>
          <a:off x="455613" y="2478437"/>
          <a:ext cx="8063055" cy="3958341"/>
        </p:xfrm>
        <a:graphic>
          <a:graphicData uri="http://schemas.openxmlformats.org/drawingml/2006/table">
            <a:tbl>
              <a:tblPr/>
              <a:tblGrid>
                <a:gridCol w="2617951"/>
                <a:gridCol w="2719602"/>
                <a:gridCol w="2725502"/>
              </a:tblGrid>
              <a:tr h="50965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Team Role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Name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Contact</a:t>
                      </a:r>
                      <a:endParaRPr lang="en-US" sz="1600" b="1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Project Lead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Marek Szeles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szelemar@fel.cvut.cz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Analyst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Ho Minh Thanh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mintha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Head of Development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David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Löffler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offldav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Head of Testing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Kryštof</a:t>
                      </a: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Sýkora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ykorkry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Developer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140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Miroslav </a:t>
                      </a:r>
                      <a:r>
                        <a:rPr lang="cs-CZ" sz="1400" dirty="0" err="1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Rudišin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</a:t>
                      </a:r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udismi1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Developer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Jan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Kohout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ohouj13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Tester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Yevgeniya</a:t>
                      </a: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Chekh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hekhyev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067562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0" y="3568050"/>
            <a:ext cx="9144000" cy="736822"/>
          </a:xfrm>
          <a:solidFill>
            <a:schemeClr val="accent5"/>
          </a:solidFill>
        </p:spPr>
        <p:txBody>
          <a:bodyPr anchor="ctr"/>
          <a:lstStyle/>
          <a:p>
            <a:pPr algn="ctr"/>
            <a:r>
              <a:rPr lang="cs-CZ" dirty="0" smtClean="0">
                <a:solidFill>
                  <a:schemeClr val="bg1"/>
                </a:solidFill>
              </a:rPr>
              <a:t>Project status </a:t>
            </a:r>
            <a:r>
              <a:rPr lang="cs-CZ" dirty="0" err="1" smtClean="0">
                <a:solidFill>
                  <a:schemeClr val="bg1"/>
                </a:solidFill>
              </a:rPr>
              <a:t>overview</a:t>
            </a:r>
            <a:endParaRPr lang="cs-CZ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07377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1828" y="2308819"/>
            <a:ext cx="4470957" cy="221458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Project </a:t>
            </a:r>
            <a:r>
              <a:rPr lang="cs-CZ" dirty="0" err="1" smtClean="0"/>
              <a:t>is</a:t>
            </a:r>
            <a:r>
              <a:rPr lang="cs-CZ" dirty="0" smtClean="0"/>
              <a:t> </a:t>
            </a:r>
            <a:r>
              <a:rPr lang="cs-CZ" dirty="0" err="1" smtClean="0"/>
              <a:t>being</a:t>
            </a:r>
            <a:r>
              <a:rPr lang="cs-CZ" dirty="0" smtClean="0"/>
              <a:t> </a:t>
            </a:r>
            <a:r>
              <a:rPr lang="cs-CZ" dirty="0" err="1" smtClean="0"/>
              <a:t>steadily</a:t>
            </a:r>
            <a:r>
              <a:rPr lang="cs-CZ" dirty="0" smtClean="0"/>
              <a:t> </a:t>
            </a:r>
            <a:r>
              <a:rPr lang="cs-CZ" dirty="0" err="1" smtClean="0"/>
              <a:t>updated</a:t>
            </a:r>
            <a:r>
              <a:rPr lang="cs-CZ" dirty="0" smtClean="0"/>
              <a:t>…</a:t>
            </a:r>
            <a:endParaRPr lang="cs-CZ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1792" y="4201903"/>
            <a:ext cx="8312244" cy="2249734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66883" y="2780880"/>
            <a:ext cx="4652684" cy="1902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195649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40630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85" name="think-cell Slide" r:id="rId109" imgW="270" imgH="270" progId="TCLayout.ActiveDocument.1">
                  <p:embed/>
                </p:oleObj>
              </mc:Choice>
              <mc:Fallback>
                <p:oleObj name="think-cell Slide" r:id="rId10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…and </a:t>
            </a:r>
            <a:r>
              <a:rPr lang="cs-CZ" dirty="0" err="1" smtClean="0"/>
              <a:t>we</a:t>
            </a:r>
            <a:r>
              <a:rPr lang="cs-CZ" dirty="0" smtClean="0"/>
              <a:t> are </a:t>
            </a:r>
            <a:r>
              <a:rPr lang="cs-CZ" dirty="0" err="1" smtClean="0"/>
              <a:t>still</a:t>
            </a:r>
            <a:r>
              <a:rPr lang="cs-CZ" dirty="0" smtClean="0"/>
              <a:t> </a:t>
            </a:r>
            <a:r>
              <a:rPr lang="cs-CZ" dirty="0" err="1" smtClean="0"/>
              <a:t>within</a:t>
            </a:r>
            <a:r>
              <a:rPr lang="cs-CZ" dirty="0" smtClean="0"/>
              <a:t> </a:t>
            </a:r>
            <a:r>
              <a:rPr lang="cs-CZ" dirty="0" err="1" smtClean="0"/>
              <a:t>planned</a:t>
            </a:r>
            <a:r>
              <a:rPr lang="cs-CZ" dirty="0" smtClean="0"/>
              <a:t> </a:t>
            </a:r>
            <a:r>
              <a:rPr lang="cs-CZ" dirty="0" err="1" smtClean="0"/>
              <a:t>schedule</a:t>
            </a:r>
            <a:endParaRPr lang="cs-CZ" dirty="0"/>
          </a:p>
        </p:txBody>
      </p:sp>
      <p:sp>
        <p:nvSpPr>
          <p:cNvPr id="114" name="Rectangle 113"/>
          <p:cNvSpPr/>
          <p:nvPr>
            <p:custDataLst>
              <p:tags r:id="rId4"/>
            </p:custDataLst>
          </p:nvPr>
        </p:nvSpPr>
        <p:spPr bwMode="gray">
          <a:xfrm>
            <a:off x="7034961" y="4573588"/>
            <a:ext cx="861264" cy="115887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5" name="Rectangle 114"/>
          <p:cNvSpPr/>
          <p:nvPr>
            <p:custDataLst>
              <p:tags r:id="rId5"/>
            </p:custDataLst>
          </p:nvPr>
        </p:nvSpPr>
        <p:spPr bwMode="gray">
          <a:xfrm>
            <a:off x="6551895" y="4573588"/>
            <a:ext cx="476714" cy="115887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6" name="Rectangle 115"/>
          <p:cNvSpPr/>
          <p:nvPr>
            <p:custDataLst>
              <p:tags r:id="rId6"/>
            </p:custDataLst>
          </p:nvPr>
        </p:nvSpPr>
        <p:spPr bwMode="gray">
          <a:xfrm>
            <a:off x="7962900" y="4573588"/>
            <a:ext cx="471488" cy="115887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7" name="Rectangle 116"/>
          <p:cNvSpPr/>
          <p:nvPr>
            <p:custDataLst>
              <p:tags r:id="rId7"/>
            </p:custDataLst>
          </p:nvPr>
        </p:nvSpPr>
        <p:spPr bwMode="gray">
          <a:xfrm>
            <a:off x="7028609" y="4215607"/>
            <a:ext cx="867615" cy="115887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8" name="Rectangle 117"/>
          <p:cNvSpPr/>
          <p:nvPr>
            <p:custDataLst>
              <p:tags r:id="rId8"/>
            </p:custDataLst>
          </p:nvPr>
        </p:nvSpPr>
        <p:spPr bwMode="gray">
          <a:xfrm>
            <a:off x="406400" y="4865688"/>
            <a:ext cx="1704975" cy="460375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9" name="Rectangle 118"/>
          <p:cNvSpPr/>
          <p:nvPr>
            <p:custDataLst>
              <p:tags r:id="rId9"/>
            </p:custDataLst>
          </p:nvPr>
        </p:nvSpPr>
        <p:spPr bwMode="gray">
          <a:xfrm>
            <a:off x="406400" y="3741738"/>
            <a:ext cx="1704975" cy="3571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0" name="Rectangle 119"/>
          <p:cNvSpPr/>
          <p:nvPr>
            <p:custDataLst>
              <p:tags r:id="rId10"/>
            </p:custDataLst>
          </p:nvPr>
        </p:nvSpPr>
        <p:spPr bwMode="gray">
          <a:xfrm>
            <a:off x="406400" y="4457700"/>
            <a:ext cx="1704975" cy="4079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1" name="Rectangle 120"/>
          <p:cNvSpPr/>
          <p:nvPr>
            <p:custDataLst>
              <p:tags r:id="rId11"/>
            </p:custDataLst>
          </p:nvPr>
        </p:nvSpPr>
        <p:spPr bwMode="gray">
          <a:xfrm>
            <a:off x="406400" y="3232150"/>
            <a:ext cx="1704975" cy="5095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2" name="Rectangle 121"/>
          <p:cNvSpPr/>
          <p:nvPr>
            <p:custDataLst>
              <p:tags r:id="rId12"/>
            </p:custDataLst>
          </p:nvPr>
        </p:nvSpPr>
        <p:spPr bwMode="gray">
          <a:xfrm>
            <a:off x="406400" y="5326063"/>
            <a:ext cx="1704975" cy="784225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9" name="Rectangle 128"/>
          <p:cNvSpPr/>
          <p:nvPr>
            <p:custDataLst>
              <p:tags r:id="rId13"/>
            </p:custDataLst>
          </p:nvPr>
        </p:nvSpPr>
        <p:spPr bwMode="gray">
          <a:xfrm>
            <a:off x="406400" y="2824163"/>
            <a:ext cx="1704975" cy="4079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3" name="Rectangle 132"/>
          <p:cNvSpPr/>
          <p:nvPr>
            <p:custDataLst>
              <p:tags r:id="rId14"/>
            </p:custDataLst>
          </p:nvPr>
        </p:nvSpPr>
        <p:spPr bwMode="gray">
          <a:xfrm>
            <a:off x="406400" y="4098925"/>
            <a:ext cx="1704975" cy="358775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4" name="Rectangle 133"/>
          <p:cNvSpPr/>
          <p:nvPr>
            <p:custDataLst>
              <p:tags r:id="rId15"/>
            </p:custDataLst>
          </p:nvPr>
        </p:nvSpPr>
        <p:spPr bwMode="gray">
          <a:xfrm>
            <a:off x="7896225" y="2824163"/>
            <a:ext cx="66675" cy="3286125"/>
          </a:xfrm>
          <a:prstGeom prst="rect">
            <a:avLst/>
          </a:prstGeom>
          <a:solidFill>
            <a:srgbClr val="D2E0E6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7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2111375" y="2324100"/>
            <a:ext cx="604838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7E11DA2-0479-4402-B690-2CD9A0F31D42}" type="datetime'''''''''''''''''''''''''''''''''''''''''''Feb'''''''''">
              <a:rPr lang="en-US" altLang="en-US" sz="1200">
                <a:latin typeface="+mn-lt"/>
                <a:sym typeface="+mn-lt"/>
              </a:rPr>
              <a:pPr/>
              <a:t>Feb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138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2716213" y="2324100"/>
            <a:ext cx="2085975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A3FEDF00-46B0-47BD-8B2B-78F7A1BDD914}" type="datetime'''M''a''''''''''''''r'''">
              <a:rPr lang="en-US" altLang="en-US" sz="1200">
                <a:latin typeface="+mn-lt"/>
                <a:sym typeface="+mn-lt"/>
              </a:rPr>
              <a:pPr/>
              <a:t>Mar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139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4802188" y="2324100"/>
            <a:ext cx="2017713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B7B44F5-F3A8-429D-9E09-10B44669C1CF}" type="datetime'''''''''''''A''''p''''''''''''''r'''''''''''''''''''">
              <a:rPr lang="en-US" altLang="en-US" sz="1200">
                <a:latin typeface="+mn-lt"/>
                <a:sym typeface="+mn-lt"/>
              </a:rPr>
              <a:pPr/>
              <a:t>Apr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140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6819900" y="2324100"/>
            <a:ext cx="1882775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577A91F-6BB4-4C5B-AA87-9D40F07AAB6C}" type="datetime'M''''''''''''''''''''''''''''''''''''a''''''y'''''''''''''''''">
              <a:rPr lang="en-US" altLang="en-US" sz="1200">
                <a:latin typeface="+mn-lt"/>
                <a:sym typeface="+mn-lt"/>
              </a:rPr>
              <a:pPr/>
              <a:t>May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141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2111375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596DD0DE-5828-4649-8BB9-D35AF0ECC810}" type="datetime'''''''''''0''''''''''''''''''''''''''''''''8'">
              <a:rPr lang="en-US" altLang="en-US" sz="1000">
                <a:latin typeface="+mn-lt"/>
                <a:sym typeface="+mn-lt"/>
              </a:rPr>
              <a:pPr/>
              <a:t>08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42" name="Text Placeholder 2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2582863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FE6014A-9AB7-4E9B-8FC9-208B94BEA322}" type="datetime'''''''''''''0''''''''''''''9'''''''">
              <a:rPr lang="en-US" altLang="en-US" sz="1000">
                <a:latin typeface="+mn-lt"/>
                <a:sym typeface="+mn-lt"/>
              </a:rPr>
              <a:pPr/>
              <a:t>09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43" name="Text Placeholder 2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3052763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ADCEE9B-1C4F-46C9-8221-1CF6810156AA}" type="datetime'''1''''''''''''''''''''''''''''''''''''''''''''''''0'">
              <a:rPr lang="en-US" altLang="en-US" sz="1000">
                <a:latin typeface="+mn-lt"/>
                <a:sym typeface="+mn-lt"/>
              </a:rPr>
              <a:pPr/>
              <a:t>10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44" name="Text Placeholder 2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3524250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9416F51-2BED-4154-BCE3-C66756847741}" type="datetime'1''''''''''1'''''''''''''''''''''''''''''''''''">
              <a:rPr lang="en-US" altLang="en-US" sz="1000">
                <a:latin typeface="+mn-lt"/>
                <a:sym typeface="+mn-lt"/>
              </a:rPr>
              <a:pPr/>
              <a:t>11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45" name="Text Placeholder 2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3994150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B7E519C-0B16-499C-91B7-7D66FE7053C3}" type="datetime'''''''''''''''''''''''''''''''''''''''''''12'''''''">
              <a:rPr lang="en-US" altLang="en-US" sz="1000">
                <a:latin typeface="+mn-lt"/>
                <a:sym typeface="+mn-lt"/>
              </a:rPr>
              <a:pPr/>
              <a:t>12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46" name="Text Placeholder 2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4465638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DCB9D875-907C-41E3-9646-B3DAB5509A72}" type="datetime'''''''1''''3'''''''''''''''''''">
              <a:rPr lang="en-US" altLang="en-US" sz="1000">
                <a:latin typeface="+mn-lt"/>
                <a:sym typeface="+mn-lt"/>
              </a:rPr>
              <a:pPr/>
              <a:t>13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47" name="Text Placeholder 2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4935538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282B804-7941-4197-B7E5-0BC5769C4A98}" type="datetime'''''''1''''''''''''''''''''''''''''''''4'''''">
              <a:rPr lang="en-US" altLang="en-US" sz="1000">
                <a:latin typeface="+mn-lt"/>
                <a:sym typeface="+mn-lt"/>
              </a:rPr>
              <a:pPr/>
              <a:t>14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48" name="Text Placeholder 2"/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5407025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21E4C97-D7FD-465D-A15D-855F918B2DC3}" type="datetime'''''''''''''''''1''''''''''''''''''''''''''''''''''5'''''">
              <a:rPr lang="en-US" altLang="en-US" sz="1000">
                <a:latin typeface="+mn-lt"/>
                <a:sym typeface="+mn-lt"/>
              </a:rPr>
              <a:pPr/>
              <a:t>15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49" name="Text Placeholder 2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5878513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E3AAC9B-E3ED-4E0D-9945-C83EF149A9B0}" type="datetime'''''''''1''''''''''''''''''''''''6'''''''''''''''">
              <a:rPr lang="en-US" altLang="en-US" sz="1000">
                <a:latin typeface="+mn-lt"/>
                <a:sym typeface="+mn-lt"/>
              </a:rPr>
              <a:pPr/>
              <a:t>16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50" name="Text Placeholder 2"/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6348413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1E0C55B-7C15-4EB4-BAE4-F2F912B71A64}" type="datetime'17'''''''''''''''">
              <a:rPr lang="en-US" altLang="en-US" sz="1000">
                <a:latin typeface="+mn-lt"/>
                <a:sym typeface="+mn-lt"/>
              </a:rPr>
              <a:pPr/>
              <a:t>17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51" name="Text Placeholder 2"/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6819900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36FD5D7-4BAC-491A-9847-EC4576717F9C}" type="datetime'''''''''1''''''''''''''''''''''''''''''''''''''8'''''''">
              <a:rPr lang="en-US" altLang="en-US" sz="1000">
                <a:latin typeface="+mn-lt"/>
                <a:sym typeface="+mn-lt"/>
              </a:rPr>
              <a:pPr/>
              <a:t>18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52" name="Text Placeholder 2"/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7289800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9AAC9C6-E904-4CDC-BBEA-52BA6250C01F}" type="datetime'''''''''''''1''''''''''''''''''9'''''''''''''''''">
              <a:rPr lang="en-US" altLang="en-US" sz="1000">
                <a:latin typeface="+mn-lt"/>
                <a:sym typeface="+mn-lt"/>
              </a:rPr>
              <a:pPr/>
              <a:t>19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53" name="Text Placeholder 2"/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7761288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07685C27-2F57-4C17-A5ED-AFCB1FDE6571}" type="datetime'''''''''''''''''2''''''''''0'''''''''''''''''''''''''">
              <a:rPr lang="en-US" altLang="en-US" sz="1000">
                <a:latin typeface="+mn-lt"/>
                <a:sym typeface="+mn-lt"/>
              </a:rPr>
              <a:pPr/>
              <a:t>20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54" name="Text Placeholder 2"/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8231188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13FDBF1-BF2D-4426-A7FF-75EFCAA47424}" type="datetime'''''''''''''2''''''1'''''''''''">
              <a:rPr lang="en-US" altLang="en-US" sz="1000">
                <a:latin typeface="+mn-lt"/>
                <a:sym typeface="+mn-lt"/>
              </a:rPr>
              <a:pPr/>
              <a:t>21</a:t>
            </a:fld>
            <a:endParaRPr lang="en-US" sz="1000" dirty="0">
              <a:latin typeface="+mn-lt"/>
              <a:sym typeface="+mn-lt"/>
            </a:endParaRPr>
          </a:p>
        </p:txBody>
      </p:sp>
      <p:cxnSp>
        <p:nvCxnSpPr>
          <p:cNvPr id="155" name="Straight Connector 154"/>
          <p:cNvCxnSpPr/>
          <p:nvPr>
            <p:custDataLst>
              <p:tags r:id="rId34"/>
            </p:custDataLst>
          </p:nvPr>
        </p:nvCxnSpPr>
        <p:spPr bwMode="gray">
          <a:xfrm>
            <a:off x="2111375" y="2589213"/>
            <a:ext cx="604838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Straight Connector 155"/>
          <p:cNvCxnSpPr/>
          <p:nvPr>
            <p:custDataLst>
              <p:tags r:id="rId35"/>
            </p:custDataLst>
          </p:nvPr>
        </p:nvCxnSpPr>
        <p:spPr bwMode="gray">
          <a:xfrm>
            <a:off x="4802188" y="2589213"/>
            <a:ext cx="2017713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Straight Connector 156"/>
          <p:cNvCxnSpPr/>
          <p:nvPr>
            <p:custDataLst>
              <p:tags r:id="rId36"/>
            </p:custDataLst>
          </p:nvPr>
        </p:nvCxnSpPr>
        <p:spPr bwMode="gray">
          <a:xfrm>
            <a:off x="6819900" y="2589213"/>
            <a:ext cx="18827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Straight Connector 157"/>
          <p:cNvCxnSpPr/>
          <p:nvPr>
            <p:custDataLst>
              <p:tags r:id="rId37"/>
            </p:custDataLst>
          </p:nvPr>
        </p:nvCxnSpPr>
        <p:spPr bwMode="gray">
          <a:xfrm>
            <a:off x="2716213" y="2589213"/>
            <a:ext cx="20859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9" name="Straight Connector 158"/>
          <p:cNvCxnSpPr/>
          <p:nvPr>
            <p:custDataLst>
              <p:tags r:id="rId38"/>
            </p:custDataLst>
          </p:nvPr>
        </p:nvCxnSpPr>
        <p:spPr bwMode="gray">
          <a:xfrm>
            <a:off x="2111375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Straight Connector 159"/>
          <p:cNvCxnSpPr/>
          <p:nvPr>
            <p:custDataLst>
              <p:tags r:id="rId39"/>
            </p:custDataLst>
          </p:nvPr>
        </p:nvCxnSpPr>
        <p:spPr bwMode="gray">
          <a:xfrm>
            <a:off x="6819900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1" name="Straight Connector 160"/>
          <p:cNvCxnSpPr/>
          <p:nvPr>
            <p:custDataLst>
              <p:tags r:id="rId40"/>
            </p:custDataLst>
          </p:nvPr>
        </p:nvCxnSpPr>
        <p:spPr bwMode="gray">
          <a:xfrm>
            <a:off x="4802188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2" name="Straight Connector 161"/>
          <p:cNvCxnSpPr/>
          <p:nvPr>
            <p:custDataLst>
              <p:tags r:id="rId41"/>
            </p:custDataLst>
          </p:nvPr>
        </p:nvCxnSpPr>
        <p:spPr bwMode="gray">
          <a:xfrm>
            <a:off x="2716213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3" name="Rectangle 162"/>
          <p:cNvSpPr/>
          <p:nvPr>
            <p:custDataLst>
              <p:tags r:id="rId42"/>
            </p:custDataLst>
          </p:nvPr>
        </p:nvSpPr>
        <p:spPr bwMode="gray">
          <a:xfrm>
            <a:off x="7028609" y="3857625"/>
            <a:ext cx="261191" cy="115888"/>
          </a:xfrm>
          <a:prstGeom prst="rect">
            <a:avLst/>
          </a:prstGeom>
          <a:solidFill>
            <a:srgbClr val="E2E2E2"/>
          </a:solidFill>
          <a:ln w="9525">
            <a:solidFill>
              <a:schemeClr val="accent6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4" name="Rectangle 163"/>
          <p:cNvSpPr/>
          <p:nvPr>
            <p:custDataLst>
              <p:tags r:id="rId43"/>
            </p:custDataLst>
          </p:nvPr>
        </p:nvSpPr>
        <p:spPr bwMode="gray">
          <a:xfrm>
            <a:off x="3725863" y="3857625"/>
            <a:ext cx="1412875" cy="115888"/>
          </a:xfrm>
          <a:prstGeom prst="rect">
            <a:avLst/>
          </a:prstGeom>
          <a:solidFill>
            <a:srgbClr val="E2E2E2"/>
          </a:solidFill>
          <a:ln w="9525">
            <a:solidFill>
              <a:schemeClr val="accent6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5" name="Rectangle 164"/>
          <p:cNvSpPr/>
          <p:nvPr>
            <p:custDataLst>
              <p:tags r:id="rId44"/>
            </p:custDataLst>
          </p:nvPr>
        </p:nvSpPr>
        <p:spPr bwMode="gray">
          <a:xfrm>
            <a:off x="7962900" y="3857625"/>
            <a:ext cx="471488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6" name="Rectangle 165"/>
          <p:cNvSpPr/>
          <p:nvPr>
            <p:custDataLst>
              <p:tags r:id="rId45"/>
            </p:custDataLst>
          </p:nvPr>
        </p:nvSpPr>
        <p:spPr bwMode="gray">
          <a:xfrm>
            <a:off x="7289800" y="3857625"/>
            <a:ext cx="606425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7" name="Rectangle 166"/>
          <p:cNvSpPr/>
          <p:nvPr>
            <p:custDataLst>
              <p:tags r:id="rId46"/>
            </p:custDataLst>
          </p:nvPr>
        </p:nvSpPr>
        <p:spPr bwMode="gray">
          <a:xfrm>
            <a:off x="5138738" y="3857625"/>
            <a:ext cx="1889872" cy="115888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8" name="Rectangle 167"/>
          <p:cNvSpPr/>
          <p:nvPr>
            <p:custDataLst>
              <p:tags r:id="rId47"/>
            </p:custDataLst>
          </p:nvPr>
        </p:nvSpPr>
        <p:spPr bwMode="gray">
          <a:xfrm>
            <a:off x="2319339" y="3857625"/>
            <a:ext cx="1406524" cy="115888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9" name="Rectangle 168"/>
          <p:cNvSpPr/>
          <p:nvPr>
            <p:custDataLst>
              <p:tags r:id="rId48"/>
            </p:custDataLst>
          </p:nvPr>
        </p:nvSpPr>
        <p:spPr bwMode="gray">
          <a:xfrm>
            <a:off x="2120900" y="2990850"/>
            <a:ext cx="1133475" cy="115888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0" name="Rectangle 169"/>
          <p:cNvSpPr/>
          <p:nvPr>
            <p:custDataLst>
              <p:tags r:id="rId49"/>
            </p:custDataLst>
          </p:nvPr>
        </p:nvSpPr>
        <p:spPr bwMode="gray">
          <a:xfrm>
            <a:off x="3725863" y="4214813"/>
            <a:ext cx="3302747" cy="115887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1" name="Rectangle 170"/>
          <p:cNvSpPr/>
          <p:nvPr>
            <p:custDataLst>
              <p:tags r:id="rId50"/>
            </p:custDataLst>
          </p:nvPr>
        </p:nvSpPr>
        <p:spPr bwMode="gray">
          <a:xfrm>
            <a:off x="2312988" y="3348038"/>
            <a:ext cx="941388" cy="115887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72" name="Straight Connector 171"/>
          <p:cNvCxnSpPr/>
          <p:nvPr>
            <p:custDataLst>
              <p:tags r:id="rId51"/>
            </p:custDataLst>
          </p:nvPr>
        </p:nvCxnSpPr>
        <p:spPr bwMode="white">
          <a:xfrm>
            <a:off x="5407025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3" name="Straight Connector 172"/>
          <p:cNvCxnSpPr/>
          <p:nvPr>
            <p:custDataLst>
              <p:tags r:id="rId52"/>
            </p:custDataLst>
          </p:nvPr>
        </p:nvCxnSpPr>
        <p:spPr bwMode="white">
          <a:xfrm>
            <a:off x="587851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4" name="Straight Connector 173"/>
          <p:cNvCxnSpPr/>
          <p:nvPr>
            <p:custDataLst>
              <p:tags r:id="rId53"/>
            </p:custDataLst>
          </p:nvPr>
        </p:nvCxnSpPr>
        <p:spPr bwMode="white">
          <a:xfrm>
            <a:off x="493553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5" name="Straight Connector 174"/>
          <p:cNvCxnSpPr/>
          <p:nvPr>
            <p:custDataLst>
              <p:tags r:id="rId54"/>
            </p:custDataLst>
          </p:nvPr>
        </p:nvCxnSpPr>
        <p:spPr bwMode="white">
          <a:xfrm>
            <a:off x="7289800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6" name="Straight Connector 175"/>
          <p:cNvCxnSpPr/>
          <p:nvPr>
            <p:custDataLst>
              <p:tags r:id="rId55"/>
            </p:custDataLst>
          </p:nvPr>
        </p:nvCxnSpPr>
        <p:spPr bwMode="white">
          <a:xfrm>
            <a:off x="776128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Straight Connector 176"/>
          <p:cNvCxnSpPr/>
          <p:nvPr>
            <p:custDataLst>
              <p:tags r:id="rId56"/>
            </p:custDataLst>
          </p:nvPr>
        </p:nvCxnSpPr>
        <p:spPr bwMode="white">
          <a:xfrm>
            <a:off x="634841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Straight Connector 177"/>
          <p:cNvCxnSpPr/>
          <p:nvPr>
            <p:custDataLst>
              <p:tags r:id="rId57"/>
            </p:custDataLst>
          </p:nvPr>
        </p:nvCxnSpPr>
        <p:spPr bwMode="white">
          <a:xfrm>
            <a:off x="446563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9" name="Straight Connector 178"/>
          <p:cNvCxnSpPr/>
          <p:nvPr>
            <p:custDataLst>
              <p:tags r:id="rId58"/>
            </p:custDataLst>
          </p:nvPr>
        </p:nvCxnSpPr>
        <p:spPr bwMode="white">
          <a:xfrm>
            <a:off x="823118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0" name="Straight Connector 179"/>
          <p:cNvCxnSpPr/>
          <p:nvPr>
            <p:custDataLst>
              <p:tags r:id="rId59"/>
            </p:custDataLst>
          </p:nvPr>
        </p:nvCxnSpPr>
        <p:spPr bwMode="white">
          <a:xfrm>
            <a:off x="3994150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1" name="Straight Connector 180"/>
          <p:cNvCxnSpPr/>
          <p:nvPr>
            <p:custDataLst>
              <p:tags r:id="rId60"/>
            </p:custDataLst>
          </p:nvPr>
        </p:nvCxnSpPr>
        <p:spPr bwMode="white">
          <a:xfrm>
            <a:off x="3524250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2" name="Straight Connector 181"/>
          <p:cNvCxnSpPr/>
          <p:nvPr>
            <p:custDataLst>
              <p:tags r:id="rId61"/>
            </p:custDataLst>
          </p:nvPr>
        </p:nvCxnSpPr>
        <p:spPr bwMode="white">
          <a:xfrm>
            <a:off x="305276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3" name="Straight Connector 182"/>
          <p:cNvCxnSpPr/>
          <p:nvPr>
            <p:custDataLst>
              <p:tags r:id="rId62"/>
            </p:custDataLst>
          </p:nvPr>
        </p:nvCxnSpPr>
        <p:spPr bwMode="white">
          <a:xfrm>
            <a:off x="258286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4" name="Straight Connector 183"/>
          <p:cNvCxnSpPr/>
          <p:nvPr>
            <p:custDataLst>
              <p:tags r:id="rId63"/>
            </p:custDataLst>
          </p:nvPr>
        </p:nvCxnSpPr>
        <p:spPr bwMode="gray">
          <a:xfrm>
            <a:off x="406400" y="5326063"/>
            <a:ext cx="82962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5" name="Straight Connector 184"/>
          <p:cNvCxnSpPr/>
          <p:nvPr>
            <p:custDataLst>
              <p:tags r:id="rId64"/>
            </p:custDataLst>
          </p:nvPr>
        </p:nvCxnSpPr>
        <p:spPr bwMode="gray">
          <a:xfrm>
            <a:off x="406400" y="4865688"/>
            <a:ext cx="82962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Straight Connector 185"/>
          <p:cNvCxnSpPr/>
          <p:nvPr>
            <p:custDataLst>
              <p:tags r:id="rId65"/>
            </p:custDataLst>
          </p:nvPr>
        </p:nvCxnSpPr>
        <p:spPr bwMode="gray">
          <a:xfrm>
            <a:off x="2784475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7" name="Straight Connector 186"/>
          <p:cNvCxnSpPr/>
          <p:nvPr>
            <p:custDataLst>
              <p:tags r:id="rId66"/>
            </p:custDataLst>
          </p:nvPr>
        </p:nvCxnSpPr>
        <p:spPr bwMode="gray">
          <a:xfrm>
            <a:off x="3725863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8" name="Straight Connector 187"/>
          <p:cNvCxnSpPr/>
          <p:nvPr>
            <p:custDataLst>
              <p:tags r:id="rId67"/>
            </p:custDataLst>
          </p:nvPr>
        </p:nvCxnSpPr>
        <p:spPr bwMode="gray">
          <a:xfrm>
            <a:off x="2312988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9" name="Straight Connector 188"/>
          <p:cNvCxnSpPr/>
          <p:nvPr>
            <p:custDataLst>
              <p:tags r:id="rId68"/>
            </p:custDataLst>
          </p:nvPr>
        </p:nvCxnSpPr>
        <p:spPr bwMode="gray">
          <a:xfrm>
            <a:off x="6550025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0" name="Straight Connector 189"/>
          <p:cNvCxnSpPr/>
          <p:nvPr>
            <p:custDataLst>
              <p:tags r:id="rId69"/>
            </p:custDataLst>
          </p:nvPr>
        </p:nvCxnSpPr>
        <p:spPr bwMode="gray">
          <a:xfrm>
            <a:off x="8434388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1" name="Straight Connector 190"/>
          <p:cNvCxnSpPr/>
          <p:nvPr>
            <p:custDataLst>
              <p:tags r:id="rId70"/>
            </p:custDataLst>
          </p:nvPr>
        </p:nvCxnSpPr>
        <p:spPr bwMode="gray">
          <a:xfrm>
            <a:off x="406400" y="2824163"/>
            <a:ext cx="8296275" cy="0"/>
          </a:xfrm>
          <a:prstGeom prst="line">
            <a:avLst/>
          </a:prstGeom>
          <a:ln w="19050">
            <a:solidFill>
              <a:schemeClr val="tx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Right Bracket 191"/>
          <p:cNvSpPr/>
          <p:nvPr>
            <p:custDataLst>
              <p:tags r:id="rId71"/>
            </p:custDataLst>
          </p:nvPr>
        </p:nvSpPr>
        <p:spPr bwMode="gray">
          <a:xfrm rot="5400000">
            <a:off x="7875588" y="6167438"/>
            <a:ext cx="107950" cy="66675"/>
          </a:xfrm>
          <a:prstGeom prst="rightBracket">
            <a:avLst>
              <a:gd name="adj" fmla="val 0"/>
            </a:avLst>
          </a:prstGeom>
          <a:noFill/>
          <a:ln w="9525">
            <a:solidFill>
              <a:schemeClr val="tx1"/>
            </a:solidFill>
            <a:headEnd type="none"/>
            <a:tailEnd type="none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3" name="Isosceles Triangle 192"/>
          <p:cNvSpPr/>
          <p:nvPr>
            <p:custDataLst>
              <p:tags r:id="rId72"/>
            </p:custDataLst>
          </p:nvPr>
        </p:nvSpPr>
        <p:spPr bwMode="gray">
          <a:xfrm rot="10800000">
            <a:off x="7896225" y="6254750"/>
            <a:ext cx="66675" cy="107950"/>
          </a:xfrm>
          <a:prstGeom prst="triangle">
            <a:avLst/>
          </a:prstGeom>
          <a:solidFill>
            <a:schemeClr val="tx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4" name="Isosceles Triangle 193"/>
          <p:cNvSpPr/>
          <p:nvPr>
            <p:custDataLst>
              <p:tags r:id="rId73"/>
            </p:custDataLst>
          </p:nvPr>
        </p:nvSpPr>
        <p:spPr bwMode="gray">
          <a:xfrm>
            <a:off x="8361363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5" name="Isosceles Triangle 194"/>
          <p:cNvSpPr/>
          <p:nvPr>
            <p:custDataLst>
              <p:tags r:id="rId74"/>
            </p:custDataLst>
          </p:nvPr>
        </p:nvSpPr>
        <p:spPr bwMode="gray">
          <a:xfrm>
            <a:off x="7889875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6" name="Isosceles Triangle 195"/>
          <p:cNvSpPr/>
          <p:nvPr>
            <p:custDataLst>
              <p:tags r:id="rId75"/>
            </p:custDataLst>
          </p:nvPr>
        </p:nvSpPr>
        <p:spPr bwMode="gray">
          <a:xfrm>
            <a:off x="7418388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8" name="Diamond 197"/>
          <p:cNvSpPr/>
          <p:nvPr>
            <p:custDataLst>
              <p:tags r:id="rId76"/>
            </p:custDataLst>
          </p:nvPr>
        </p:nvSpPr>
        <p:spPr bwMode="gray">
          <a:xfrm>
            <a:off x="8361363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9" name="Diamond 198"/>
          <p:cNvSpPr/>
          <p:nvPr>
            <p:custDataLst>
              <p:tags r:id="rId77"/>
            </p:custDataLst>
          </p:nvPr>
        </p:nvSpPr>
        <p:spPr bwMode="gray">
          <a:xfrm>
            <a:off x="6477000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0" name="Diamond 199"/>
          <p:cNvSpPr/>
          <p:nvPr>
            <p:custDataLst>
              <p:tags r:id="rId78"/>
            </p:custDataLst>
          </p:nvPr>
        </p:nvSpPr>
        <p:spPr bwMode="gray">
          <a:xfrm>
            <a:off x="3652838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1" name="Isosceles Triangle 200"/>
          <p:cNvSpPr/>
          <p:nvPr>
            <p:custDataLst>
              <p:tags r:id="rId79"/>
            </p:custDataLst>
          </p:nvPr>
        </p:nvSpPr>
        <p:spPr bwMode="gray">
          <a:xfrm>
            <a:off x="2711450" y="5026025"/>
            <a:ext cx="146050" cy="127000"/>
          </a:xfrm>
          <a:prstGeom prst="triangle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2" name="Diamond 201"/>
          <p:cNvSpPr/>
          <p:nvPr>
            <p:custDataLst>
              <p:tags r:id="rId80"/>
            </p:custDataLst>
          </p:nvPr>
        </p:nvSpPr>
        <p:spPr bwMode="gray">
          <a:xfrm>
            <a:off x="2711450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3" name="Isosceles Triangle 202"/>
          <p:cNvSpPr/>
          <p:nvPr>
            <p:custDataLst>
              <p:tags r:id="rId81"/>
            </p:custDataLst>
          </p:nvPr>
        </p:nvSpPr>
        <p:spPr bwMode="gray">
          <a:xfrm>
            <a:off x="2239963" y="5026025"/>
            <a:ext cx="146050" cy="127000"/>
          </a:xfrm>
          <a:prstGeom prst="triangle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4" name="Diamond 203"/>
          <p:cNvSpPr/>
          <p:nvPr>
            <p:custDataLst>
              <p:tags r:id="rId82"/>
            </p:custDataLst>
          </p:nvPr>
        </p:nvSpPr>
        <p:spPr bwMode="gray">
          <a:xfrm>
            <a:off x="2239963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5" name="Text Placeholder 2"/>
          <p:cNvSpPr>
            <a:spLocks noGrp="1"/>
          </p:cNvSpPr>
          <p:nvPr>
            <p:custDataLst>
              <p:tags r:id="rId83"/>
            </p:custDataLst>
          </p:nvPr>
        </p:nvSpPr>
        <p:spPr bwMode="gray">
          <a:xfrm>
            <a:off x="501650" y="4202113"/>
            <a:ext cx="12858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Development in Java</a:t>
            </a:r>
            <a:endParaRPr lang="en-US" sz="1000" b="1" dirty="0">
              <a:latin typeface="+mn-lt"/>
              <a:sym typeface="+mn-lt"/>
            </a:endParaRPr>
          </a:p>
        </p:txBody>
      </p:sp>
      <p:sp useBgFill="1">
        <p:nvSpPr>
          <p:cNvPr id="206" name="Text Placeholder 2"/>
          <p:cNvSpPr>
            <a:spLocks noGrp="1"/>
          </p:cNvSpPr>
          <p:nvPr>
            <p:custDataLst>
              <p:tags r:id="rId84"/>
            </p:custDataLst>
          </p:nvPr>
        </p:nvSpPr>
        <p:spPr bwMode="gray">
          <a:xfrm>
            <a:off x="6119813" y="5645150"/>
            <a:ext cx="862013" cy="3048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4BEFD67E-4E12-4687-B8CF-C831FB395B10}" type="datetime'''2''''''7''.'''''''''''' ''''Apr ''''''''2''''''''0''1''7'''">
              <a:rPr lang="en-US" altLang="en-US" sz="1000"/>
              <a:pPr/>
              <a:t>27. Apr 2017</a:t>
            </a:fld>
            <a:endParaRPr lang="en-US" altLang="en-US" sz="1000" dirty="0" smtClean="0"/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latin typeface="+mn-lt"/>
                <a:sym typeface="+mn-lt"/>
              </a:rPr>
              <a:t>Testing Phase</a:t>
            </a:r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207" name="Text Placeholder 2"/>
          <p:cNvSpPr>
            <a:spLocks noGrp="1"/>
          </p:cNvSpPr>
          <p:nvPr>
            <p:custDataLst>
              <p:tags r:id="rId85"/>
            </p:custDataLst>
          </p:nvPr>
        </p:nvSpPr>
        <p:spPr bwMode="gray">
          <a:xfrm>
            <a:off x="501650" y="2978150"/>
            <a:ext cx="13970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Project Scope Analysis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208" name="Text Placeholder 2"/>
          <p:cNvSpPr>
            <a:spLocks noGrp="1"/>
          </p:cNvSpPr>
          <p:nvPr>
            <p:custDataLst>
              <p:tags r:id="rId86"/>
            </p:custDataLst>
          </p:nvPr>
        </p:nvSpPr>
        <p:spPr bwMode="gray">
          <a:xfrm>
            <a:off x="501650" y="5019675"/>
            <a:ext cx="10953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err="1" smtClean="0">
                <a:latin typeface="+mn-lt"/>
                <a:sym typeface="+mn-lt"/>
              </a:rPr>
              <a:t>SteerCo</a:t>
            </a:r>
            <a:r>
              <a:rPr lang="en-US" altLang="en-US" sz="1000" b="1" dirty="0" smtClean="0">
                <a:latin typeface="+mn-lt"/>
                <a:sym typeface="+mn-lt"/>
              </a:rPr>
              <a:t> Meetings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209" name="Text Placeholder 2"/>
          <p:cNvSpPr>
            <a:spLocks noGrp="1"/>
          </p:cNvSpPr>
          <p:nvPr>
            <p:custDataLst>
              <p:tags r:id="rId87"/>
            </p:custDataLst>
          </p:nvPr>
        </p:nvSpPr>
        <p:spPr bwMode="gray">
          <a:xfrm>
            <a:off x="501650" y="3844925"/>
            <a:ext cx="15144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Documentation Creation</a:t>
            </a:r>
            <a:endParaRPr lang="en-US" sz="1000" b="1" dirty="0">
              <a:latin typeface="+mn-lt"/>
              <a:sym typeface="+mn-lt"/>
            </a:endParaRPr>
          </a:p>
        </p:txBody>
      </p:sp>
      <p:sp useBgFill="1">
        <p:nvSpPr>
          <p:cNvPr id="210" name="Text Placeholder 2"/>
          <p:cNvSpPr>
            <a:spLocks noGrp="1"/>
          </p:cNvSpPr>
          <p:nvPr>
            <p:custDataLst>
              <p:tags r:id="rId88"/>
            </p:custDataLst>
          </p:nvPr>
        </p:nvSpPr>
        <p:spPr bwMode="gray">
          <a:xfrm>
            <a:off x="1701800" y="5645150"/>
            <a:ext cx="796925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5D93C46-65C0-4D1E-A96D-A53BEF97FD93}" type="datetime'''''''''''''''''23. ''F''''''''''''eb'''' ''2''''''01''7'''''">
              <a:rPr lang="en-US" altLang="en-US" sz="1000" smtClean="0">
                <a:latin typeface="+mn-lt"/>
                <a:sym typeface="+mn-lt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23. Feb 2017</a:t>
            </a:fld>
            <a:endParaRPr lang="en-US" altLang="en-US" sz="1000" dirty="0" smtClean="0">
              <a:latin typeface="+mn-lt"/>
              <a:sym typeface="+mn-lt"/>
            </a:endParaRP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ym typeface="+mn-lt"/>
              </a:rPr>
              <a:t>Team</a:t>
            </a:r>
            <a:br>
              <a:rPr lang="en-US" altLang="en-US" sz="1000" dirty="0">
                <a:sym typeface="+mn-lt"/>
              </a:rPr>
            </a:br>
            <a:r>
              <a:rPr lang="en-US" altLang="en-US" sz="1000" dirty="0" smtClean="0">
                <a:sym typeface="+mn-lt"/>
              </a:rPr>
              <a:t>Assembly</a:t>
            </a:r>
            <a:endParaRPr lang="en-US" sz="1000" dirty="0">
              <a:sym typeface="+mn-lt"/>
            </a:endParaRPr>
          </a:p>
        </p:txBody>
      </p:sp>
      <p:sp useBgFill="1">
        <p:nvSpPr>
          <p:cNvPr id="211" name="Text Placeholder 2"/>
          <p:cNvSpPr>
            <a:spLocks noGrp="1"/>
          </p:cNvSpPr>
          <p:nvPr>
            <p:custDataLst>
              <p:tags r:id="rId89"/>
            </p:custDataLst>
          </p:nvPr>
        </p:nvSpPr>
        <p:spPr bwMode="gray">
          <a:xfrm>
            <a:off x="2593975" y="5645150"/>
            <a:ext cx="806450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31453D49-A973-49CA-AB70-6CD521EFF1B0}" type="datetime'0''''''2''. ''''''''''M''a''''''''''r'' ''201''''''''''7'">
              <a:rPr lang="en-US" altLang="en-US" sz="1000" smtClean="0">
                <a:latin typeface="+mn-lt"/>
                <a:sym typeface="+mn-lt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02. Mar 2017</a:t>
            </a:fld>
            <a:endParaRPr lang="en-US" altLang="en-US" sz="1000" dirty="0" smtClean="0">
              <a:latin typeface="+mn-lt"/>
              <a:sym typeface="+mn-lt"/>
            </a:endParaRP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ym typeface="+mn-lt"/>
              </a:rPr>
              <a:t>Proposal</a:t>
            </a:r>
            <a:br>
              <a:rPr lang="en-US" altLang="en-US" sz="1000" dirty="0">
                <a:sym typeface="+mn-lt"/>
              </a:rPr>
            </a:br>
            <a:r>
              <a:rPr lang="en-US" altLang="en-US" sz="1000" dirty="0" smtClean="0">
                <a:sym typeface="+mn-lt"/>
              </a:rPr>
              <a:t>Agreement</a:t>
            </a:r>
            <a:endParaRPr lang="en-US" sz="1000" dirty="0">
              <a:sym typeface="+mn-lt"/>
            </a:endParaRPr>
          </a:p>
        </p:txBody>
      </p:sp>
      <p:sp>
        <p:nvSpPr>
          <p:cNvPr id="212" name="Text Placeholder 2"/>
          <p:cNvSpPr>
            <a:spLocks noGrp="1"/>
          </p:cNvSpPr>
          <p:nvPr>
            <p:custDataLst>
              <p:tags r:id="rId90"/>
            </p:custDataLst>
          </p:nvPr>
        </p:nvSpPr>
        <p:spPr bwMode="gray">
          <a:xfrm>
            <a:off x="501650" y="4560888"/>
            <a:ext cx="4619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Testing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213" name="Text Placeholder 2"/>
          <p:cNvSpPr>
            <a:spLocks noGrp="1"/>
          </p:cNvSpPr>
          <p:nvPr>
            <p:custDataLst>
              <p:tags r:id="rId91"/>
            </p:custDataLst>
          </p:nvPr>
        </p:nvSpPr>
        <p:spPr bwMode="gray">
          <a:xfrm>
            <a:off x="501650" y="3335338"/>
            <a:ext cx="1158875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CASA Architecture </a:t>
            </a:r>
            <a:br>
              <a:rPr lang="en-US" altLang="en-US" sz="1000" b="1" dirty="0" smtClean="0">
                <a:latin typeface="+mn-lt"/>
                <a:sym typeface="+mn-lt"/>
              </a:rPr>
            </a:br>
            <a:r>
              <a:rPr lang="en-US" altLang="en-US" sz="1000" b="1" dirty="0" smtClean="0">
                <a:latin typeface="+mn-lt"/>
                <a:sym typeface="+mn-lt"/>
              </a:rPr>
              <a:t>Mapping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214" name="Text Placeholder 2"/>
          <p:cNvSpPr>
            <a:spLocks noGrp="1"/>
          </p:cNvSpPr>
          <p:nvPr>
            <p:custDataLst>
              <p:tags r:id="rId92"/>
            </p:custDataLst>
          </p:nvPr>
        </p:nvSpPr>
        <p:spPr bwMode="gray">
          <a:xfrm>
            <a:off x="501650" y="2600325"/>
            <a:ext cx="58261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12D01C07-0159-494E-B897-6C778381CC27}" type="datetime'''A''''''c''''''''t''''i''''v''''i''''''''''''ty'''''">
              <a:rPr lang="en-US" altLang="en-US" sz="1200" b="1">
                <a:latin typeface="+mn-lt"/>
                <a:sym typeface="+mn-lt"/>
              </a:rPr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Activity</a:t>
            </a:fld>
            <a:endParaRPr lang="en-US" sz="1200" b="1" dirty="0">
              <a:latin typeface="+mn-lt"/>
              <a:sym typeface="+mn-lt"/>
            </a:endParaRPr>
          </a:p>
        </p:txBody>
      </p:sp>
      <p:sp>
        <p:nvSpPr>
          <p:cNvPr id="215" name="Text Placeholder 2"/>
          <p:cNvSpPr>
            <a:spLocks noGrp="1"/>
          </p:cNvSpPr>
          <p:nvPr>
            <p:custDataLst>
              <p:tags r:id="rId93"/>
            </p:custDataLst>
          </p:nvPr>
        </p:nvSpPr>
        <p:spPr bwMode="gray">
          <a:xfrm>
            <a:off x="501650" y="5480050"/>
            <a:ext cx="6778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/>
              <a:t>Milestones</a:t>
            </a:r>
            <a:endParaRPr lang="en-US" sz="1000" b="1" dirty="0">
              <a:latin typeface="+mn-lt"/>
              <a:sym typeface="+mn-lt"/>
            </a:endParaRPr>
          </a:p>
        </p:txBody>
      </p:sp>
      <p:sp useBgFill="1">
        <p:nvSpPr>
          <p:cNvPr id="216" name="Text Placeholder 2"/>
          <p:cNvSpPr>
            <a:spLocks noGrp="1"/>
          </p:cNvSpPr>
          <p:nvPr>
            <p:custDataLst>
              <p:tags r:id="rId94"/>
            </p:custDataLst>
          </p:nvPr>
        </p:nvSpPr>
        <p:spPr bwMode="gray">
          <a:xfrm>
            <a:off x="7997825" y="5645150"/>
            <a:ext cx="874713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A8B3C1A9-6231-4B55-B79F-D312F435A20B}" type="datetime'''25''''''.'''' ''May'' ''2''0''''''''''''''''''''''''''17'''">
              <a:rPr lang="en-US" altLang="en-US" sz="1000" smtClean="0">
                <a:latin typeface="+mn-lt"/>
                <a:sym typeface="+mn-lt"/>
              </a:rPr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25. May 2017</a:t>
            </a:fld>
            <a:endParaRPr lang="en-US" altLang="en-US" sz="1000" dirty="0" smtClean="0">
              <a:latin typeface="+mn-lt"/>
              <a:sym typeface="+mn-lt"/>
            </a:endParaRP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ym typeface="+mn-lt"/>
              </a:rPr>
              <a:t>Final outcome</a:t>
            </a: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 smtClean="0">
                <a:sym typeface="+mn-lt"/>
              </a:rPr>
              <a:t>hand-in</a:t>
            </a:r>
            <a:endParaRPr lang="en-US" sz="1000" dirty="0">
              <a:sym typeface="+mn-lt"/>
            </a:endParaRPr>
          </a:p>
        </p:txBody>
      </p:sp>
      <p:sp useBgFill="1">
        <p:nvSpPr>
          <p:cNvPr id="217" name="Text Placeholder 2"/>
          <p:cNvSpPr>
            <a:spLocks noGrp="1"/>
          </p:cNvSpPr>
          <p:nvPr>
            <p:custDataLst>
              <p:tags r:id="rId95"/>
            </p:custDataLst>
          </p:nvPr>
        </p:nvSpPr>
        <p:spPr bwMode="gray">
          <a:xfrm>
            <a:off x="7666831" y="6279248"/>
            <a:ext cx="531813" cy="1524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sym typeface="+mn-lt"/>
              </a:rPr>
              <a:t>Rector </a:t>
            </a:r>
            <a:br>
              <a:rPr lang="en-US" sz="1000" dirty="0" smtClean="0">
                <a:sym typeface="+mn-lt"/>
              </a:rPr>
            </a:br>
            <a:r>
              <a:rPr lang="en-US" sz="1000" dirty="0" smtClean="0">
                <a:sym typeface="+mn-lt"/>
              </a:rPr>
              <a:t>day off</a:t>
            </a:r>
            <a:endParaRPr lang="en-US" sz="1000" dirty="0">
              <a:latin typeface="+mn-lt"/>
              <a:sym typeface="+mn-lt"/>
            </a:endParaRPr>
          </a:p>
        </p:txBody>
      </p:sp>
      <p:cxnSp>
        <p:nvCxnSpPr>
          <p:cNvPr id="218" name="Straight Connector 217"/>
          <p:cNvCxnSpPr/>
          <p:nvPr>
            <p:custDataLst>
              <p:tags r:id="rId96"/>
            </p:custDataLst>
          </p:nvPr>
        </p:nvCxnSpPr>
        <p:spPr bwMode="gray">
          <a:xfrm>
            <a:off x="7028610" y="2824163"/>
            <a:ext cx="0" cy="3286125"/>
          </a:xfrm>
          <a:prstGeom prst="line">
            <a:avLst/>
          </a:prstGeom>
          <a:ln w="38100">
            <a:solidFill>
              <a:schemeClr val="accent2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 useBgFill="1">
        <p:nvSpPr>
          <p:cNvPr id="219" name="Text Placeholder 2"/>
          <p:cNvSpPr>
            <a:spLocks noGrp="1"/>
          </p:cNvSpPr>
          <p:nvPr>
            <p:custDataLst>
              <p:tags r:id="rId97"/>
            </p:custDataLst>
          </p:nvPr>
        </p:nvSpPr>
        <p:spPr bwMode="gray">
          <a:xfrm>
            <a:off x="6619500" y="6143718"/>
            <a:ext cx="862013" cy="3048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cs-CZ" altLang="en-US" sz="1800" dirty="0" err="1" smtClean="0">
                <a:solidFill>
                  <a:schemeClr val="accent2"/>
                </a:solidFill>
              </a:rPr>
              <a:t>We</a:t>
            </a:r>
            <a:r>
              <a:rPr lang="cs-CZ" altLang="en-US" sz="1800" dirty="0" smtClean="0">
                <a:solidFill>
                  <a:schemeClr val="accent2"/>
                </a:solidFill>
              </a:rPr>
              <a:t> are </a:t>
            </a: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cs-CZ" altLang="en-US" sz="1800" dirty="0" err="1" smtClean="0">
                <a:solidFill>
                  <a:schemeClr val="accent2"/>
                </a:solidFill>
              </a:rPr>
              <a:t>here</a:t>
            </a:r>
            <a:endParaRPr lang="en-US" sz="1800" dirty="0">
              <a:solidFill>
                <a:schemeClr val="accent2"/>
              </a:solidFill>
              <a:latin typeface="+mn-lt"/>
              <a:sym typeface="+mn-lt"/>
            </a:endParaRPr>
          </a:p>
        </p:txBody>
      </p:sp>
      <p:sp>
        <p:nvSpPr>
          <p:cNvPr id="220" name="Isosceles Triangle 219"/>
          <p:cNvSpPr/>
          <p:nvPr>
            <p:custDataLst>
              <p:tags r:id="rId98"/>
            </p:custDataLst>
          </p:nvPr>
        </p:nvSpPr>
        <p:spPr bwMode="gray">
          <a:xfrm>
            <a:off x="6007100" y="5026025"/>
            <a:ext cx="146050" cy="127000"/>
          </a:xfrm>
          <a:prstGeom prst="triangle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1" name="Isosceles Triangle 220"/>
          <p:cNvSpPr/>
          <p:nvPr>
            <p:custDataLst>
              <p:tags r:id="rId99"/>
            </p:custDataLst>
          </p:nvPr>
        </p:nvSpPr>
        <p:spPr bwMode="gray">
          <a:xfrm>
            <a:off x="5535613" y="5026025"/>
            <a:ext cx="146050" cy="127000"/>
          </a:xfrm>
          <a:prstGeom prst="triangle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2" name="Isosceles Triangle 221"/>
          <p:cNvSpPr/>
          <p:nvPr>
            <p:custDataLst>
              <p:tags r:id="rId100"/>
            </p:custDataLst>
          </p:nvPr>
        </p:nvSpPr>
        <p:spPr bwMode="gray">
          <a:xfrm>
            <a:off x="5065713" y="5026025"/>
            <a:ext cx="146050" cy="127000"/>
          </a:xfrm>
          <a:prstGeom prst="triangle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3" name="Isosceles Triangle 222"/>
          <p:cNvSpPr/>
          <p:nvPr>
            <p:custDataLst>
              <p:tags r:id="rId101"/>
            </p:custDataLst>
          </p:nvPr>
        </p:nvSpPr>
        <p:spPr bwMode="gray">
          <a:xfrm>
            <a:off x="4594225" y="5026025"/>
            <a:ext cx="146050" cy="127000"/>
          </a:xfrm>
          <a:prstGeom prst="triangle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4" name="Isosceles Triangle 223"/>
          <p:cNvSpPr/>
          <p:nvPr>
            <p:custDataLst>
              <p:tags r:id="rId102"/>
            </p:custDataLst>
          </p:nvPr>
        </p:nvSpPr>
        <p:spPr bwMode="gray">
          <a:xfrm>
            <a:off x="4122738" y="5026025"/>
            <a:ext cx="146050" cy="127000"/>
          </a:xfrm>
          <a:prstGeom prst="triangle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5" name="Isosceles Triangle 224"/>
          <p:cNvSpPr/>
          <p:nvPr>
            <p:custDataLst>
              <p:tags r:id="rId103"/>
            </p:custDataLst>
          </p:nvPr>
        </p:nvSpPr>
        <p:spPr bwMode="gray">
          <a:xfrm>
            <a:off x="3652838" y="5026025"/>
            <a:ext cx="146050" cy="127000"/>
          </a:xfrm>
          <a:prstGeom prst="triangle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6" name="Isosceles Triangle 225"/>
          <p:cNvSpPr/>
          <p:nvPr>
            <p:custDataLst>
              <p:tags r:id="rId104"/>
            </p:custDataLst>
          </p:nvPr>
        </p:nvSpPr>
        <p:spPr bwMode="gray">
          <a:xfrm>
            <a:off x="3181350" y="5026025"/>
            <a:ext cx="146050" cy="127000"/>
          </a:xfrm>
          <a:prstGeom prst="triangle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7" name="Isosceles Triangle 226"/>
          <p:cNvSpPr/>
          <p:nvPr>
            <p:custDataLst>
              <p:tags r:id="rId105"/>
            </p:custDataLst>
          </p:nvPr>
        </p:nvSpPr>
        <p:spPr bwMode="gray">
          <a:xfrm>
            <a:off x="6477000" y="5026025"/>
            <a:ext cx="146050" cy="127000"/>
          </a:xfrm>
          <a:prstGeom prst="triangle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228" name="Text Placeholder 2"/>
          <p:cNvSpPr>
            <a:spLocks noGrp="1"/>
          </p:cNvSpPr>
          <p:nvPr>
            <p:custDataLst>
              <p:tags r:id="rId106"/>
            </p:custDataLst>
          </p:nvPr>
        </p:nvSpPr>
        <p:spPr bwMode="gray">
          <a:xfrm>
            <a:off x="3495675" y="5645150"/>
            <a:ext cx="838200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7606448-7404-4BAF-AAC8-748881C2F134}" type="datetime'16''''''. M''''''''''''''''''ar'''''''''''''' 201''''7'''''">
              <a:rPr lang="en-US" altLang="en-US" sz="1000"/>
              <a:pPr/>
              <a:t>16. Mar 2017</a:t>
            </a:fld>
            <a:endParaRPr lang="en-US" altLang="en-US" sz="1000" dirty="0" smtClean="0"/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latin typeface="+mn-lt"/>
                <a:sym typeface="+mn-lt"/>
              </a:rPr>
              <a:t>Start of </a:t>
            </a: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latin typeface="+mn-lt"/>
                <a:sym typeface="+mn-lt"/>
              </a:rPr>
              <a:t>Development</a:t>
            </a:r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97" name="Isosceles Triangle 196"/>
          <p:cNvSpPr/>
          <p:nvPr>
            <p:custDataLst>
              <p:tags r:id="rId107"/>
            </p:custDataLst>
          </p:nvPr>
        </p:nvSpPr>
        <p:spPr bwMode="gray">
          <a:xfrm>
            <a:off x="6948488" y="5026025"/>
            <a:ext cx="146050" cy="127000"/>
          </a:xfrm>
          <a:prstGeom prst="triangle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52944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40630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2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Today</a:t>
            </a:r>
            <a:r>
              <a:rPr lang="cs-CZ" dirty="0" smtClean="0"/>
              <a:t> </a:t>
            </a:r>
            <a:r>
              <a:rPr lang="cs-CZ" dirty="0" err="1" smtClean="0"/>
              <a:t>we</a:t>
            </a:r>
            <a:r>
              <a:rPr lang="cs-CZ" dirty="0" smtClean="0"/>
              <a:t> </a:t>
            </a:r>
            <a:r>
              <a:rPr lang="cs-CZ" dirty="0" err="1" smtClean="0"/>
              <a:t>need</a:t>
            </a:r>
            <a:r>
              <a:rPr lang="cs-CZ" dirty="0" smtClean="0"/>
              <a:t> to:</a:t>
            </a:r>
            <a:endParaRPr lang="cs-CZ" dirty="0"/>
          </a:p>
        </p:txBody>
      </p:sp>
      <p:sp>
        <p:nvSpPr>
          <p:cNvPr id="6" name="ColumnHeader"/>
          <p:cNvSpPr>
            <a:spLocks noChangeArrowheads="1"/>
          </p:cNvSpPr>
          <p:nvPr/>
        </p:nvSpPr>
        <p:spPr bwMode="gray">
          <a:xfrm>
            <a:off x="455613" y="3614109"/>
            <a:ext cx="2460767" cy="738664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accent5"/>
            </a:outerShdw>
          </a:effectLst>
        </p:spPr>
        <p:txBody>
          <a:bodyPr tIns="91440" bIns="91440" anchor="b">
            <a:spAutoFit/>
          </a:bodyPr>
          <a:lstStyle/>
          <a:p>
            <a:pPr algn="ctr"/>
            <a:r>
              <a:rPr lang="cs-CZ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Resolve</a:t>
            </a:r>
            <a:r>
              <a:rPr lang="cs-CZ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hange</a:t>
            </a:r>
            <a:r>
              <a:rPr lang="cs-CZ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requests</a:t>
            </a:r>
            <a:endParaRPr lang="en-US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TextColumnContent"/>
          <p:cNvSpPr>
            <a:spLocks noChangeArrowheads="1"/>
          </p:cNvSpPr>
          <p:nvPr/>
        </p:nvSpPr>
        <p:spPr bwMode="gray">
          <a:xfrm>
            <a:off x="455613" y="4352773"/>
            <a:ext cx="2460767" cy="1654201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tIns="91440" bIns="91440"/>
          <a:lstStyle/>
          <a:p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We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would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like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to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implement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ome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hanges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to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he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original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ode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in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he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wo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arsing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modules</a:t>
            </a:r>
            <a:endParaRPr lang="cs-CZ" sz="16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6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ee</a:t>
            </a:r>
            <a:r>
              <a:rPr lang="cs-CZ" sz="16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ttachment</a:t>
            </a:r>
            <a:r>
              <a:rPr lang="cs-CZ" sz="16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cs-CZ" sz="16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</a:br>
            <a:r>
              <a:rPr lang="cs-CZ" sz="16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(</a:t>
            </a:r>
            <a:r>
              <a:rPr lang="cs-CZ" sz="16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hR</a:t>
            </a:r>
            <a:r>
              <a:rPr lang="cs-CZ" sz="16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: </a:t>
            </a:r>
            <a:r>
              <a:rPr lang="cs-CZ" sz="16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arsing</a:t>
            </a:r>
            <a:r>
              <a:rPr lang="cs-CZ" sz="16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nalysis</a:t>
            </a:r>
            <a:r>
              <a:rPr lang="cs-CZ" sz="16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)</a:t>
            </a:r>
            <a:endParaRPr lang="en-US" sz="16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ColumnHeader"/>
          <p:cNvSpPr>
            <a:spLocks noChangeArrowheads="1"/>
          </p:cNvSpPr>
          <p:nvPr/>
        </p:nvSpPr>
        <p:spPr bwMode="gray">
          <a:xfrm>
            <a:off x="3343708" y="3614109"/>
            <a:ext cx="2460768" cy="738664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accent5"/>
            </a:outerShdw>
          </a:effectLst>
        </p:spPr>
        <p:txBody>
          <a:bodyPr tIns="91440" bIns="91440" anchor="b">
            <a:spAutoFit/>
          </a:bodyPr>
          <a:lstStyle/>
          <a:p>
            <a:pPr algn="ctr"/>
            <a:r>
              <a:rPr lang="cs-CZ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iscuss</a:t>
            </a:r>
            <a:r>
              <a:rPr lang="cs-CZ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ranslation</a:t>
            </a:r>
            <a:r>
              <a:rPr lang="cs-CZ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roblems</a:t>
            </a:r>
            <a:endParaRPr lang="en-US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TextColumnContent"/>
          <p:cNvSpPr>
            <a:spLocks noChangeArrowheads="1"/>
          </p:cNvSpPr>
          <p:nvPr/>
        </p:nvSpPr>
        <p:spPr bwMode="gray">
          <a:xfrm>
            <a:off x="3343708" y="4352773"/>
            <a:ext cx="2460768" cy="1654201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tIns="91440" bIns="91440"/>
          <a:lstStyle/>
          <a:p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ome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roblems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have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risen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uring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ode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ranslation</a:t>
            </a:r>
            <a:endParaRPr lang="en-US" sz="16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ColumnHeader"/>
          <p:cNvSpPr>
            <a:spLocks noChangeArrowheads="1"/>
          </p:cNvSpPr>
          <p:nvPr/>
        </p:nvSpPr>
        <p:spPr bwMode="gray">
          <a:xfrm>
            <a:off x="6223083" y="3614109"/>
            <a:ext cx="2460767" cy="738664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accent5"/>
            </a:outerShdw>
          </a:effectLst>
        </p:spPr>
        <p:txBody>
          <a:bodyPr tIns="91440" bIns="91440" anchor="b">
            <a:spAutoFit/>
          </a:bodyPr>
          <a:lstStyle/>
          <a:p>
            <a:pPr algn="ctr"/>
            <a:r>
              <a:rPr lang="cs-CZ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Revise </a:t>
            </a:r>
            <a:r>
              <a:rPr lang="cs-CZ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esting</a:t>
            </a:r>
            <a:r>
              <a:rPr lang="cs-CZ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trategy</a:t>
            </a:r>
            <a:endParaRPr lang="en-US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TextColumnContent"/>
          <p:cNvSpPr>
            <a:spLocks noChangeArrowheads="1"/>
          </p:cNvSpPr>
          <p:nvPr/>
        </p:nvSpPr>
        <p:spPr bwMode="gray">
          <a:xfrm>
            <a:off x="6223083" y="4352773"/>
            <a:ext cx="2460767" cy="1654201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tIns="91440" bIns="91440"/>
          <a:lstStyle/>
          <a:p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In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ome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modules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, test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tubs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are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lready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in place - </a:t>
            </a:r>
            <a:endParaRPr lang="en-US" sz="16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28" name="Group 36"/>
          <p:cNvGrpSpPr>
            <a:grpSpLocks noChangeAspect="1"/>
          </p:cNvGrpSpPr>
          <p:nvPr/>
        </p:nvGrpSpPr>
        <p:grpSpPr bwMode="auto">
          <a:xfrm>
            <a:off x="4132428" y="2716527"/>
            <a:ext cx="883328" cy="763588"/>
            <a:chOff x="3514" y="1018"/>
            <a:chExt cx="2641" cy="2283"/>
          </a:xfrm>
          <a:solidFill>
            <a:srgbClr val="4472C4"/>
          </a:solidFill>
        </p:grpSpPr>
        <p:sp>
          <p:nvSpPr>
            <p:cNvPr id="29" name="Freeform 38"/>
            <p:cNvSpPr>
              <a:spLocks noEditPoints="1"/>
            </p:cNvSpPr>
            <p:nvPr/>
          </p:nvSpPr>
          <p:spPr bwMode="auto">
            <a:xfrm>
              <a:off x="3514" y="1018"/>
              <a:ext cx="2641" cy="2283"/>
            </a:xfrm>
            <a:custGeom>
              <a:avLst/>
              <a:gdLst>
                <a:gd name="T0" fmla="*/ 383 w 5282"/>
                <a:gd name="T1" fmla="*/ 3127 h 4566"/>
                <a:gd name="T2" fmla="*/ 4899 w 5282"/>
                <a:gd name="T3" fmla="*/ 384 h 4566"/>
                <a:gd name="T4" fmla="*/ 257 w 5282"/>
                <a:gd name="T5" fmla="*/ 0 h 4566"/>
                <a:gd name="T6" fmla="*/ 5072 w 5282"/>
                <a:gd name="T7" fmla="*/ 4 h 4566"/>
                <a:gd name="T8" fmla="*/ 5156 w 5282"/>
                <a:gd name="T9" fmla="*/ 36 h 4566"/>
                <a:gd name="T10" fmla="*/ 5221 w 5282"/>
                <a:gd name="T11" fmla="*/ 90 h 4566"/>
                <a:gd name="T12" fmla="*/ 5266 w 5282"/>
                <a:gd name="T13" fmla="*/ 168 h 4566"/>
                <a:gd name="T14" fmla="*/ 5282 w 5282"/>
                <a:gd name="T15" fmla="*/ 256 h 4566"/>
                <a:gd name="T16" fmla="*/ 5278 w 5282"/>
                <a:gd name="T17" fmla="*/ 3300 h 4566"/>
                <a:gd name="T18" fmla="*/ 5247 w 5282"/>
                <a:gd name="T19" fmla="*/ 3384 h 4566"/>
                <a:gd name="T20" fmla="*/ 5191 w 5282"/>
                <a:gd name="T21" fmla="*/ 3451 h 4566"/>
                <a:gd name="T22" fmla="*/ 5116 w 5282"/>
                <a:gd name="T23" fmla="*/ 3494 h 4566"/>
                <a:gd name="T24" fmla="*/ 5026 w 5282"/>
                <a:gd name="T25" fmla="*/ 3511 h 4566"/>
                <a:gd name="T26" fmla="*/ 3243 w 5282"/>
                <a:gd name="T27" fmla="*/ 4092 h 4566"/>
                <a:gd name="T28" fmla="*/ 3985 w 5282"/>
                <a:gd name="T29" fmla="*/ 4097 h 4566"/>
                <a:gd name="T30" fmla="*/ 4068 w 5282"/>
                <a:gd name="T31" fmla="*/ 4132 h 4566"/>
                <a:gd name="T32" fmla="*/ 4133 w 5282"/>
                <a:gd name="T33" fmla="*/ 4196 h 4566"/>
                <a:gd name="T34" fmla="*/ 4168 w 5282"/>
                <a:gd name="T35" fmla="*/ 4280 h 4566"/>
                <a:gd name="T36" fmla="*/ 4168 w 5282"/>
                <a:gd name="T37" fmla="*/ 4376 h 4566"/>
                <a:gd name="T38" fmla="*/ 4133 w 5282"/>
                <a:gd name="T39" fmla="*/ 4462 h 4566"/>
                <a:gd name="T40" fmla="*/ 4068 w 5282"/>
                <a:gd name="T41" fmla="*/ 4524 h 4566"/>
                <a:gd name="T42" fmla="*/ 3985 w 5282"/>
                <a:gd name="T43" fmla="*/ 4561 h 4566"/>
                <a:gd name="T44" fmla="*/ 1345 w 5282"/>
                <a:gd name="T45" fmla="*/ 4566 h 4566"/>
                <a:gd name="T46" fmla="*/ 1254 w 5282"/>
                <a:gd name="T47" fmla="*/ 4547 h 4566"/>
                <a:gd name="T48" fmla="*/ 1179 w 5282"/>
                <a:gd name="T49" fmla="*/ 4495 h 4566"/>
                <a:gd name="T50" fmla="*/ 1127 w 5282"/>
                <a:gd name="T51" fmla="*/ 4421 h 4566"/>
                <a:gd name="T52" fmla="*/ 1110 w 5282"/>
                <a:gd name="T53" fmla="*/ 4328 h 4566"/>
                <a:gd name="T54" fmla="*/ 1127 w 5282"/>
                <a:gd name="T55" fmla="*/ 4237 h 4566"/>
                <a:gd name="T56" fmla="*/ 1179 w 5282"/>
                <a:gd name="T57" fmla="*/ 4161 h 4566"/>
                <a:gd name="T58" fmla="*/ 1254 w 5282"/>
                <a:gd name="T59" fmla="*/ 4110 h 4566"/>
                <a:gd name="T60" fmla="*/ 1345 w 5282"/>
                <a:gd name="T61" fmla="*/ 4092 h 4566"/>
                <a:gd name="T62" fmla="*/ 2040 w 5282"/>
                <a:gd name="T63" fmla="*/ 3511 h 4566"/>
                <a:gd name="T64" fmla="*/ 210 w 5282"/>
                <a:gd name="T65" fmla="*/ 3507 h 4566"/>
                <a:gd name="T66" fmla="*/ 127 w 5282"/>
                <a:gd name="T67" fmla="*/ 3475 h 4566"/>
                <a:gd name="T68" fmla="*/ 61 w 5282"/>
                <a:gd name="T69" fmla="*/ 3419 h 4566"/>
                <a:gd name="T70" fmla="*/ 16 w 5282"/>
                <a:gd name="T71" fmla="*/ 3343 h 4566"/>
                <a:gd name="T72" fmla="*/ 0 w 5282"/>
                <a:gd name="T73" fmla="*/ 3255 h 4566"/>
                <a:gd name="T74" fmla="*/ 5 w 5282"/>
                <a:gd name="T75" fmla="*/ 211 h 4566"/>
                <a:gd name="T76" fmla="*/ 35 w 5282"/>
                <a:gd name="T77" fmla="*/ 127 h 4566"/>
                <a:gd name="T78" fmla="*/ 91 w 5282"/>
                <a:gd name="T79" fmla="*/ 60 h 4566"/>
                <a:gd name="T80" fmla="*/ 167 w 5282"/>
                <a:gd name="T81" fmla="*/ 17 h 4566"/>
                <a:gd name="T82" fmla="*/ 257 w 5282"/>
                <a:gd name="T83" fmla="*/ 0 h 45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282" h="4566">
                  <a:moveTo>
                    <a:pt x="383" y="384"/>
                  </a:moveTo>
                  <a:lnTo>
                    <a:pt x="383" y="3127"/>
                  </a:lnTo>
                  <a:lnTo>
                    <a:pt x="4899" y="3127"/>
                  </a:lnTo>
                  <a:lnTo>
                    <a:pt x="4899" y="384"/>
                  </a:lnTo>
                  <a:lnTo>
                    <a:pt x="383" y="384"/>
                  </a:lnTo>
                  <a:close/>
                  <a:moveTo>
                    <a:pt x="257" y="0"/>
                  </a:moveTo>
                  <a:lnTo>
                    <a:pt x="5026" y="0"/>
                  </a:lnTo>
                  <a:lnTo>
                    <a:pt x="5072" y="4"/>
                  </a:lnTo>
                  <a:lnTo>
                    <a:pt x="5116" y="17"/>
                  </a:lnTo>
                  <a:lnTo>
                    <a:pt x="5156" y="36"/>
                  </a:lnTo>
                  <a:lnTo>
                    <a:pt x="5191" y="60"/>
                  </a:lnTo>
                  <a:lnTo>
                    <a:pt x="5221" y="90"/>
                  </a:lnTo>
                  <a:lnTo>
                    <a:pt x="5247" y="127"/>
                  </a:lnTo>
                  <a:lnTo>
                    <a:pt x="5266" y="168"/>
                  </a:lnTo>
                  <a:lnTo>
                    <a:pt x="5278" y="211"/>
                  </a:lnTo>
                  <a:lnTo>
                    <a:pt x="5282" y="256"/>
                  </a:lnTo>
                  <a:lnTo>
                    <a:pt x="5282" y="3255"/>
                  </a:lnTo>
                  <a:lnTo>
                    <a:pt x="5278" y="3300"/>
                  </a:lnTo>
                  <a:lnTo>
                    <a:pt x="5266" y="3343"/>
                  </a:lnTo>
                  <a:lnTo>
                    <a:pt x="5247" y="3384"/>
                  </a:lnTo>
                  <a:lnTo>
                    <a:pt x="5221" y="3419"/>
                  </a:lnTo>
                  <a:lnTo>
                    <a:pt x="5191" y="3451"/>
                  </a:lnTo>
                  <a:lnTo>
                    <a:pt x="5156" y="3475"/>
                  </a:lnTo>
                  <a:lnTo>
                    <a:pt x="5116" y="3494"/>
                  </a:lnTo>
                  <a:lnTo>
                    <a:pt x="5072" y="3507"/>
                  </a:lnTo>
                  <a:lnTo>
                    <a:pt x="5026" y="3511"/>
                  </a:lnTo>
                  <a:lnTo>
                    <a:pt x="3243" y="3511"/>
                  </a:lnTo>
                  <a:lnTo>
                    <a:pt x="3243" y="4092"/>
                  </a:lnTo>
                  <a:lnTo>
                    <a:pt x="3937" y="4092"/>
                  </a:lnTo>
                  <a:lnTo>
                    <a:pt x="3985" y="4097"/>
                  </a:lnTo>
                  <a:lnTo>
                    <a:pt x="4028" y="4110"/>
                  </a:lnTo>
                  <a:lnTo>
                    <a:pt x="4068" y="4132"/>
                  </a:lnTo>
                  <a:lnTo>
                    <a:pt x="4104" y="4161"/>
                  </a:lnTo>
                  <a:lnTo>
                    <a:pt x="4133" y="4196"/>
                  </a:lnTo>
                  <a:lnTo>
                    <a:pt x="4155" y="4237"/>
                  </a:lnTo>
                  <a:lnTo>
                    <a:pt x="4168" y="4280"/>
                  </a:lnTo>
                  <a:lnTo>
                    <a:pt x="4173" y="4328"/>
                  </a:lnTo>
                  <a:lnTo>
                    <a:pt x="4168" y="4376"/>
                  </a:lnTo>
                  <a:lnTo>
                    <a:pt x="4155" y="4421"/>
                  </a:lnTo>
                  <a:lnTo>
                    <a:pt x="4133" y="4462"/>
                  </a:lnTo>
                  <a:lnTo>
                    <a:pt x="4104" y="4495"/>
                  </a:lnTo>
                  <a:lnTo>
                    <a:pt x="4068" y="4524"/>
                  </a:lnTo>
                  <a:lnTo>
                    <a:pt x="4028" y="4547"/>
                  </a:lnTo>
                  <a:lnTo>
                    <a:pt x="3985" y="4561"/>
                  </a:lnTo>
                  <a:lnTo>
                    <a:pt x="3937" y="4566"/>
                  </a:lnTo>
                  <a:lnTo>
                    <a:pt x="1345" y="4566"/>
                  </a:lnTo>
                  <a:lnTo>
                    <a:pt x="1297" y="4561"/>
                  </a:lnTo>
                  <a:lnTo>
                    <a:pt x="1254" y="4547"/>
                  </a:lnTo>
                  <a:lnTo>
                    <a:pt x="1214" y="4524"/>
                  </a:lnTo>
                  <a:lnTo>
                    <a:pt x="1179" y="4495"/>
                  </a:lnTo>
                  <a:lnTo>
                    <a:pt x="1150" y="4462"/>
                  </a:lnTo>
                  <a:lnTo>
                    <a:pt x="1127" y="4421"/>
                  </a:lnTo>
                  <a:lnTo>
                    <a:pt x="1115" y="4376"/>
                  </a:lnTo>
                  <a:lnTo>
                    <a:pt x="1110" y="4328"/>
                  </a:lnTo>
                  <a:lnTo>
                    <a:pt x="1115" y="4280"/>
                  </a:lnTo>
                  <a:lnTo>
                    <a:pt x="1127" y="4237"/>
                  </a:lnTo>
                  <a:lnTo>
                    <a:pt x="1150" y="4196"/>
                  </a:lnTo>
                  <a:lnTo>
                    <a:pt x="1179" y="4161"/>
                  </a:lnTo>
                  <a:lnTo>
                    <a:pt x="1214" y="4132"/>
                  </a:lnTo>
                  <a:lnTo>
                    <a:pt x="1254" y="4110"/>
                  </a:lnTo>
                  <a:lnTo>
                    <a:pt x="1297" y="4097"/>
                  </a:lnTo>
                  <a:lnTo>
                    <a:pt x="1345" y="4092"/>
                  </a:lnTo>
                  <a:lnTo>
                    <a:pt x="2040" y="4092"/>
                  </a:lnTo>
                  <a:lnTo>
                    <a:pt x="2040" y="3511"/>
                  </a:lnTo>
                  <a:lnTo>
                    <a:pt x="257" y="3511"/>
                  </a:lnTo>
                  <a:lnTo>
                    <a:pt x="210" y="3507"/>
                  </a:lnTo>
                  <a:lnTo>
                    <a:pt x="167" y="3494"/>
                  </a:lnTo>
                  <a:lnTo>
                    <a:pt x="127" y="3475"/>
                  </a:lnTo>
                  <a:lnTo>
                    <a:pt x="91" y="3451"/>
                  </a:lnTo>
                  <a:lnTo>
                    <a:pt x="61" y="3419"/>
                  </a:lnTo>
                  <a:lnTo>
                    <a:pt x="35" y="3384"/>
                  </a:lnTo>
                  <a:lnTo>
                    <a:pt x="16" y="3343"/>
                  </a:lnTo>
                  <a:lnTo>
                    <a:pt x="5" y="3300"/>
                  </a:lnTo>
                  <a:lnTo>
                    <a:pt x="0" y="3255"/>
                  </a:lnTo>
                  <a:lnTo>
                    <a:pt x="0" y="256"/>
                  </a:lnTo>
                  <a:lnTo>
                    <a:pt x="5" y="211"/>
                  </a:lnTo>
                  <a:lnTo>
                    <a:pt x="16" y="168"/>
                  </a:lnTo>
                  <a:lnTo>
                    <a:pt x="35" y="127"/>
                  </a:lnTo>
                  <a:lnTo>
                    <a:pt x="61" y="90"/>
                  </a:lnTo>
                  <a:lnTo>
                    <a:pt x="91" y="60"/>
                  </a:lnTo>
                  <a:lnTo>
                    <a:pt x="127" y="36"/>
                  </a:lnTo>
                  <a:lnTo>
                    <a:pt x="167" y="17"/>
                  </a:lnTo>
                  <a:lnTo>
                    <a:pt x="210" y="4"/>
                  </a:lnTo>
                  <a:lnTo>
                    <a:pt x="257" y="0"/>
                  </a:lnTo>
                  <a:close/>
                </a:path>
              </a:pathLst>
            </a:custGeom>
            <a:solidFill>
              <a:srgbClr val="4472C4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  <p:sp>
          <p:nvSpPr>
            <p:cNvPr id="30" name="Freeform 39"/>
            <p:cNvSpPr>
              <a:spLocks/>
            </p:cNvSpPr>
            <p:nvPr/>
          </p:nvSpPr>
          <p:spPr bwMode="auto">
            <a:xfrm>
              <a:off x="4074" y="1625"/>
              <a:ext cx="560" cy="539"/>
            </a:xfrm>
            <a:custGeom>
              <a:avLst/>
              <a:gdLst>
                <a:gd name="T0" fmla="*/ 964 w 1121"/>
                <a:gd name="T1" fmla="*/ 0 h 1078"/>
                <a:gd name="T2" fmla="*/ 993 w 1121"/>
                <a:gd name="T3" fmla="*/ 4 h 1078"/>
                <a:gd name="T4" fmla="*/ 1022 w 1121"/>
                <a:gd name="T5" fmla="*/ 12 h 1078"/>
                <a:gd name="T6" fmla="*/ 1048 w 1121"/>
                <a:gd name="T7" fmla="*/ 26 h 1078"/>
                <a:gd name="T8" fmla="*/ 1073 w 1121"/>
                <a:gd name="T9" fmla="*/ 45 h 1078"/>
                <a:gd name="T10" fmla="*/ 1094 w 1121"/>
                <a:gd name="T11" fmla="*/ 69 h 1078"/>
                <a:gd name="T12" fmla="*/ 1108 w 1121"/>
                <a:gd name="T13" fmla="*/ 97 h 1078"/>
                <a:gd name="T14" fmla="*/ 1118 w 1121"/>
                <a:gd name="T15" fmla="*/ 126 h 1078"/>
                <a:gd name="T16" fmla="*/ 1121 w 1121"/>
                <a:gd name="T17" fmla="*/ 158 h 1078"/>
                <a:gd name="T18" fmla="*/ 1121 w 1121"/>
                <a:gd name="T19" fmla="*/ 161 h 1078"/>
                <a:gd name="T20" fmla="*/ 1116 w 1121"/>
                <a:gd name="T21" fmla="*/ 198 h 1078"/>
                <a:gd name="T22" fmla="*/ 1105 w 1121"/>
                <a:gd name="T23" fmla="*/ 230 h 1078"/>
                <a:gd name="T24" fmla="*/ 1086 w 1121"/>
                <a:gd name="T25" fmla="*/ 261 h 1078"/>
                <a:gd name="T26" fmla="*/ 1060 w 1121"/>
                <a:gd name="T27" fmla="*/ 285 h 1078"/>
                <a:gd name="T28" fmla="*/ 1030 w 1121"/>
                <a:gd name="T29" fmla="*/ 304 h 1078"/>
                <a:gd name="T30" fmla="*/ 525 w 1121"/>
                <a:gd name="T31" fmla="*/ 538 h 1078"/>
                <a:gd name="T32" fmla="*/ 1030 w 1121"/>
                <a:gd name="T33" fmla="*/ 775 h 1078"/>
                <a:gd name="T34" fmla="*/ 1060 w 1121"/>
                <a:gd name="T35" fmla="*/ 792 h 1078"/>
                <a:gd name="T36" fmla="*/ 1086 w 1121"/>
                <a:gd name="T37" fmla="*/ 818 h 1078"/>
                <a:gd name="T38" fmla="*/ 1105 w 1121"/>
                <a:gd name="T39" fmla="*/ 847 h 1078"/>
                <a:gd name="T40" fmla="*/ 1116 w 1121"/>
                <a:gd name="T41" fmla="*/ 881 h 1078"/>
                <a:gd name="T42" fmla="*/ 1121 w 1121"/>
                <a:gd name="T43" fmla="*/ 916 h 1078"/>
                <a:gd name="T44" fmla="*/ 1121 w 1121"/>
                <a:gd name="T45" fmla="*/ 921 h 1078"/>
                <a:gd name="T46" fmla="*/ 1118 w 1121"/>
                <a:gd name="T47" fmla="*/ 953 h 1078"/>
                <a:gd name="T48" fmla="*/ 1108 w 1121"/>
                <a:gd name="T49" fmla="*/ 982 h 1078"/>
                <a:gd name="T50" fmla="*/ 1094 w 1121"/>
                <a:gd name="T51" fmla="*/ 1009 h 1078"/>
                <a:gd name="T52" fmla="*/ 1073 w 1121"/>
                <a:gd name="T53" fmla="*/ 1033 h 1078"/>
                <a:gd name="T54" fmla="*/ 1048 w 1121"/>
                <a:gd name="T55" fmla="*/ 1053 h 1078"/>
                <a:gd name="T56" fmla="*/ 1022 w 1121"/>
                <a:gd name="T57" fmla="*/ 1067 h 1078"/>
                <a:gd name="T58" fmla="*/ 993 w 1121"/>
                <a:gd name="T59" fmla="*/ 1075 h 1078"/>
                <a:gd name="T60" fmla="*/ 964 w 1121"/>
                <a:gd name="T61" fmla="*/ 1078 h 1078"/>
                <a:gd name="T62" fmla="*/ 930 w 1121"/>
                <a:gd name="T63" fmla="*/ 1073 h 1078"/>
                <a:gd name="T64" fmla="*/ 898 w 1121"/>
                <a:gd name="T65" fmla="*/ 1064 h 1078"/>
                <a:gd name="T66" fmla="*/ 90 w 1121"/>
                <a:gd name="T67" fmla="*/ 688 h 1078"/>
                <a:gd name="T68" fmla="*/ 60 w 1121"/>
                <a:gd name="T69" fmla="*/ 669 h 1078"/>
                <a:gd name="T70" fmla="*/ 36 w 1121"/>
                <a:gd name="T71" fmla="*/ 643 h 1078"/>
                <a:gd name="T72" fmla="*/ 16 w 1121"/>
                <a:gd name="T73" fmla="*/ 614 h 1078"/>
                <a:gd name="T74" fmla="*/ 4 w 1121"/>
                <a:gd name="T75" fmla="*/ 580 h 1078"/>
                <a:gd name="T76" fmla="*/ 0 w 1121"/>
                <a:gd name="T77" fmla="*/ 545 h 1078"/>
                <a:gd name="T78" fmla="*/ 0 w 1121"/>
                <a:gd name="T79" fmla="*/ 534 h 1078"/>
                <a:gd name="T80" fmla="*/ 4 w 1121"/>
                <a:gd name="T81" fmla="*/ 498 h 1078"/>
                <a:gd name="T82" fmla="*/ 16 w 1121"/>
                <a:gd name="T83" fmla="*/ 465 h 1078"/>
                <a:gd name="T84" fmla="*/ 36 w 1121"/>
                <a:gd name="T85" fmla="*/ 434 h 1078"/>
                <a:gd name="T86" fmla="*/ 60 w 1121"/>
                <a:gd name="T87" fmla="*/ 410 h 1078"/>
                <a:gd name="T88" fmla="*/ 90 w 1121"/>
                <a:gd name="T89" fmla="*/ 391 h 1078"/>
                <a:gd name="T90" fmla="*/ 898 w 1121"/>
                <a:gd name="T91" fmla="*/ 15 h 1078"/>
                <a:gd name="T92" fmla="*/ 930 w 1121"/>
                <a:gd name="T93" fmla="*/ 5 h 1078"/>
                <a:gd name="T94" fmla="*/ 964 w 1121"/>
                <a:gd name="T95" fmla="*/ 0 h 10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121" h="1078">
                  <a:moveTo>
                    <a:pt x="964" y="0"/>
                  </a:moveTo>
                  <a:lnTo>
                    <a:pt x="993" y="4"/>
                  </a:lnTo>
                  <a:lnTo>
                    <a:pt x="1022" y="12"/>
                  </a:lnTo>
                  <a:lnTo>
                    <a:pt x="1048" y="26"/>
                  </a:lnTo>
                  <a:lnTo>
                    <a:pt x="1073" y="45"/>
                  </a:lnTo>
                  <a:lnTo>
                    <a:pt x="1094" y="69"/>
                  </a:lnTo>
                  <a:lnTo>
                    <a:pt x="1108" y="97"/>
                  </a:lnTo>
                  <a:lnTo>
                    <a:pt x="1118" y="126"/>
                  </a:lnTo>
                  <a:lnTo>
                    <a:pt x="1121" y="158"/>
                  </a:lnTo>
                  <a:lnTo>
                    <a:pt x="1121" y="161"/>
                  </a:lnTo>
                  <a:lnTo>
                    <a:pt x="1116" y="198"/>
                  </a:lnTo>
                  <a:lnTo>
                    <a:pt x="1105" y="230"/>
                  </a:lnTo>
                  <a:lnTo>
                    <a:pt x="1086" y="261"/>
                  </a:lnTo>
                  <a:lnTo>
                    <a:pt x="1060" y="285"/>
                  </a:lnTo>
                  <a:lnTo>
                    <a:pt x="1030" y="304"/>
                  </a:lnTo>
                  <a:lnTo>
                    <a:pt x="525" y="538"/>
                  </a:lnTo>
                  <a:lnTo>
                    <a:pt x="1030" y="775"/>
                  </a:lnTo>
                  <a:lnTo>
                    <a:pt x="1060" y="792"/>
                  </a:lnTo>
                  <a:lnTo>
                    <a:pt x="1086" y="818"/>
                  </a:lnTo>
                  <a:lnTo>
                    <a:pt x="1105" y="847"/>
                  </a:lnTo>
                  <a:lnTo>
                    <a:pt x="1116" y="881"/>
                  </a:lnTo>
                  <a:lnTo>
                    <a:pt x="1121" y="916"/>
                  </a:lnTo>
                  <a:lnTo>
                    <a:pt x="1121" y="921"/>
                  </a:lnTo>
                  <a:lnTo>
                    <a:pt x="1118" y="953"/>
                  </a:lnTo>
                  <a:lnTo>
                    <a:pt x="1108" y="982"/>
                  </a:lnTo>
                  <a:lnTo>
                    <a:pt x="1094" y="1009"/>
                  </a:lnTo>
                  <a:lnTo>
                    <a:pt x="1073" y="1033"/>
                  </a:lnTo>
                  <a:lnTo>
                    <a:pt x="1048" y="1053"/>
                  </a:lnTo>
                  <a:lnTo>
                    <a:pt x="1022" y="1067"/>
                  </a:lnTo>
                  <a:lnTo>
                    <a:pt x="993" y="1075"/>
                  </a:lnTo>
                  <a:lnTo>
                    <a:pt x="964" y="1078"/>
                  </a:lnTo>
                  <a:lnTo>
                    <a:pt x="930" y="1073"/>
                  </a:lnTo>
                  <a:lnTo>
                    <a:pt x="898" y="1064"/>
                  </a:lnTo>
                  <a:lnTo>
                    <a:pt x="90" y="688"/>
                  </a:lnTo>
                  <a:lnTo>
                    <a:pt x="60" y="669"/>
                  </a:lnTo>
                  <a:lnTo>
                    <a:pt x="36" y="643"/>
                  </a:lnTo>
                  <a:lnTo>
                    <a:pt x="16" y="614"/>
                  </a:lnTo>
                  <a:lnTo>
                    <a:pt x="4" y="580"/>
                  </a:lnTo>
                  <a:lnTo>
                    <a:pt x="0" y="545"/>
                  </a:lnTo>
                  <a:lnTo>
                    <a:pt x="0" y="534"/>
                  </a:lnTo>
                  <a:lnTo>
                    <a:pt x="4" y="498"/>
                  </a:lnTo>
                  <a:lnTo>
                    <a:pt x="16" y="465"/>
                  </a:lnTo>
                  <a:lnTo>
                    <a:pt x="36" y="434"/>
                  </a:lnTo>
                  <a:lnTo>
                    <a:pt x="60" y="410"/>
                  </a:lnTo>
                  <a:lnTo>
                    <a:pt x="90" y="391"/>
                  </a:lnTo>
                  <a:lnTo>
                    <a:pt x="898" y="15"/>
                  </a:lnTo>
                  <a:lnTo>
                    <a:pt x="930" y="5"/>
                  </a:lnTo>
                  <a:lnTo>
                    <a:pt x="964" y="0"/>
                  </a:lnTo>
                  <a:close/>
                </a:path>
              </a:pathLst>
            </a:custGeom>
            <a:solidFill>
              <a:srgbClr val="4472C4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  <p:sp>
          <p:nvSpPr>
            <p:cNvPr id="31" name="Freeform 40"/>
            <p:cNvSpPr>
              <a:spLocks/>
            </p:cNvSpPr>
            <p:nvPr/>
          </p:nvSpPr>
          <p:spPr bwMode="auto">
            <a:xfrm>
              <a:off x="4623" y="1401"/>
              <a:ext cx="423" cy="982"/>
            </a:xfrm>
            <a:custGeom>
              <a:avLst/>
              <a:gdLst>
                <a:gd name="T0" fmla="*/ 686 w 847"/>
                <a:gd name="T1" fmla="*/ 0 h 1963"/>
                <a:gd name="T2" fmla="*/ 691 w 847"/>
                <a:gd name="T3" fmla="*/ 0 h 1963"/>
                <a:gd name="T4" fmla="*/ 728 w 847"/>
                <a:gd name="T5" fmla="*/ 3 h 1963"/>
                <a:gd name="T6" fmla="*/ 762 w 847"/>
                <a:gd name="T7" fmla="*/ 16 h 1963"/>
                <a:gd name="T8" fmla="*/ 792 w 847"/>
                <a:gd name="T9" fmla="*/ 37 h 1963"/>
                <a:gd name="T10" fmla="*/ 818 w 847"/>
                <a:gd name="T11" fmla="*/ 64 h 1963"/>
                <a:gd name="T12" fmla="*/ 835 w 847"/>
                <a:gd name="T13" fmla="*/ 96 h 1963"/>
                <a:gd name="T14" fmla="*/ 845 w 847"/>
                <a:gd name="T15" fmla="*/ 131 h 1963"/>
                <a:gd name="T16" fmla="*/ 847 w 847"/>
                <a:gd name="T17" fmla="*/ 168 h 1963"/>
                <a:gd name="T18" fmla="*/ 840 w 847"/>
                <a:gd name="T19" fmla="*/ 204 h 1963"/>
                <a:gd name="T20" fmla="*/ 309 w 847"/>
                <a:gd name="T21" fmla="*/ 1854 h 1963"/>
                <a:gd name="T22" fmla="*/ 295 w 847"/>
                <a:gd name="T23" fmla="*/ 1884 h 1963"/>
                <a:gd name="T24" fmla="*/ 276 w 847"/>
                <a:gd name="T25" fmla="*/ 1911 h 1963"/>
                <a:gd name="T26" fmla="*/ 252 w 847"/>
                <a:gd name="T27" fmla="*/ 1934 h 1963"/>
                <a:gd name="T28" fmla="*/ 224 w 847"/>
                <a:gd name="T29" fmla="*/ 1950 h 1963"/>
                <a:gd name="T30" fmla="*/ 192 w 847"/>
                <a:gd name="T31" fmla="*/ 1960 h 1963"/>
                <a:gd name="T32" fmla="*/ 160 w 847"/>
                <a:gd name="T33" fmla="*/ 1963 h 1963"/>
                <a:gd name="T34" fmla="*/ 155 w 847"/>
                <a:gd name="T35" fmla="*/ 1963 h 1963"/>
                <a:gd name="T36" fmla="*/ 118 w 847"/>
                <a:gd name="T37" fmla="*/ 1960 h 1963"/>
                <a:gd name="T38" fmla="*/ 85 w 847"/>
                <a:gd name="T39" fmla="*/ 1947 h 1963"/>
                <a:gd name="T40" fmla="*/ 54 w 847"/>
                <a:gd name="T41" fmla="*/ 1926 h 1963"/>
                <a:gd name="T42" fmla="*/ 29 w 847"/>
                <a:gd name="T43" fmla="*/ 1899 h 1963"/>
                <a:gd name="T44" fmla="*/ 11 w 847"/>
                <a:gd name="T45" fmla="*/ 1866 h 1963"/>
                <a:gd name="T46" fmla="*/ 1 w 847"/>
                <a:gd name="T47" fmla="*/ 1831 h 1963"/>
                <a:gd name="T48" fmla="*/ 0 w 847"/>
                <a:gd name="T49" fmla="*/ 1794 h 1963"/>
                <a:gd name="T50" fmla="*/ 6 w 847"/>
                <a:gd name="T51" fmla="*/ 1759 h 1963"/>
                <a:gd name="T52" fmla="*/ 537 w 847"/>
                <a:gd name="T53" fmla="*/ 109 h 1963"/>
                <a:gd name="T54" fmla="*/ 551 w 847"/>
                <a:gd name="T55" fmla="*/ 77 h 1963"/>
                <a:gd name="T56" fmla="*/ 571 w 847"/>
                <a:gd name="T57" fmla="*/ 51 h 1963"/>
                <a:gd name="T58" fmla="*/ 595 w 847"/>
                <a:gd name="T59" fmla="*/ 29 h 1963"/>
                <a:gd name="T60" fmla="*/ 622 w 847"/>
                <a:gd name="T61" fmla="*/ 13 h 1963"/>
                <a:gd name="T62" fmla="*/ 654 w 847"/>
                <a:gd name="T63" fmla="*/ 3 h 1963"/>
                <a:gd name="T64" fmla="*/ 686 w 847"/>
                <a:gd name="T65" fmla="*/ 0 h 19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847" h="1963">
                  <a:moveTo>
                    <a:pt x="686" y="0"/>
                  </a:moveTo>
                  <a:lnTo>
                    <a:pt x="691" y="0"/>
                  </a:lnTo>
                  <a:lnTo>
                    <a:pt x="728" y="3"/>
                  </a:lnTo>
                  <a:lnTo>
                    <a:pt x="762" y="16"/>
                  </a:lnTo>
                  <a:lnTo>
                    <a:pt x="792" y="37"/>
                  </a:lnTo>
                  <a:lnTo>
                    <a:pt x="818" y="64"/>
                  </a:lnTo>
                  <a:lnTo>
                    <a:pt x="835" y="96"/>
                  </a:lnTo>
                  <a:lnTo>
                    <a:pt x="845" y="131"/>
                  </a:lnTo>
                  <a:lnTo>
                    <a:pt x="847" y="168"/>
                  </a:lnTo>
                  <a:lnTo>
                    <a:pt x="840" y="204"/>
                  </a:lnTo>
                  <a:lnTo>
                    <a:pt x="309" y="1854"/>
                  </a:lnTo>
                  <a:lnTo>
                    <a:pt x="295" y="1884"/>
                  </a:lnTo>
                  <a:lnTo>
                    <a:pt x="276" y="1911"/>
                  </a:lnTo>
                  <a:lnTo>
                    <a:pt x="252" y="1934"/>
                  </a:lnTo>
                  <a:lnTo>
                    <a:pt x="224" y="1950"/>
                  </a:lnTo>
                  <a:lnTo>
                    <a:pt x="192" y="1960"/>
                  </a:lnTo>
                  <a:lnTo>
                    <a:pt x="160" y="1963"/>
                  </a:lnTo>
                  <a:lnTo>
                    <a:pt x="155" y="1963"/>
                  </a:lnTo>
                  <a:lnTo>
                    <a:pt x="118" y="1960"/>
                  </a:lnTo>
                  <a:lnTo>
                    <a:pt x="85" y="1947"/>
                  </a:lnTo>
                  <a:lnTo>
                    <a:pt x="54" y="1926"/>
                  </a:lnTo>
                  <a:lnTo>
                    <a:pt x="29" y="1899"/>
                  </a:lnTo>
                  <a:lnTo>
                    <a:pt x="11" y="1866"/>
                  </a:lnTo>
                  <a:lnTo>
                    <a:pt x="1" y="1831"/>
                  </a:lnTo>
                  <a:lnTo>
                    <a:pt x="0" y="1794"/>
                  </a:lnTo>
                  <a:lnTo>
                    <a:pt x="6" y="1759"/>
                  </a:lnTo>
                  <a:lnTo>
                    <a:pt x="537" y="109"/>
                  </a:lnTo>
                  <a:lnTo>
                    <a:pt x="551" y="77"/>
                  </a:lnTo>
                  <a:lnTo>
                    <a:pt x="571" y="51"/>
                  </a:lnTo>
                  <a:lnTo>
                    <a:pt x="595" y="29"/>
                  </a:lnTo>
                  <a:lnTo>
                    <a:pt x="622" y="13"/>
                  </a:lnTo>
                  <a:lnTo>
                    <a:pt x="654" y="3"/>
                  </a:lnTo>
                  <a:lnTo>
                    <a:pt x="686" y="0"/>
                  </a:lnTo>
                  <a:close/>
                </a:path>
              </a:pathLst>
            </a:custGeom>
            <a:solidFill>
              <a:srgbClr val="4472C4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  <p:sp>
          <p:nvSpPr>
            <p:cNvPr id="32" name="Freeform 41"/>
            <p:cNvSpPr>
              <a:spLocks/>
            </p:cNvSpPr>
            <p:nvPr/>
          </p:nvSpPr>
          <p:spPr bwMode="auto">
            <a:xfrm>
              <a:off x="5035" y="1625"/>
              <a:ext cx="561" cy="539"/>
            </a:xfrm>
            <a:custGeom>
              <a:avLst/>
              <a:gdLst>
                <a:gd name="T0" fmla="*/ 157 w 1121"/>
                <a:gd name="T1" fmla="*/ 0 h 1078"/>
                <a:gd name="T2" fmla="*/ 191 w 1121"/>
                <a:gd name="T3" fmla="*/ 5 h 1078"/>
                <a:gd name="T4" fmla="*/ 223 w 1121"/>
                <a:gd name="T5" fmla="*/ 15 h 1078"/>
                <a:gd name="T6" fmla="*/ 1031 w 1121"/>
                <a:gd name="T7" fmla="*/ 391 h 1078"/>
                <a:gd name="T8" fmla="*/ 1062 w 1121"/>
                <a:gd name="T9" fmla="*/ 410 h 1078"/>
                <a:gd name="T10" fmla="*/ 1086 w 1121"/>
                <a:gd name="T11" fmla="*/ 434 h 1078"/>
                <a:gd name="T12" fmla="*/ 1105 w 1121"/>
                <a:gd name="T13" fmla="*/ 465 h 1078"/>
                <a:gd name="T14" fmla="*/ 1118 w 1121"/>
                <a:gd name="T15" fmla="*/ 498 h 1078"/>
                <a:gd name="T16" fmla="*/ 1121 w 1121"/>
                <a:gd name="T17" fmla="*/ 534 h 1078"/>
                <a:gd name="T18" fmla="*/ 1121 w 1121"/>
                <a:gd name="T19" fmla="*/ 545 h 1078"/>
                <a:gd name="T20" fmla="*/ 1118 w 1121"/>
                <a:gd name="T21" fmla="*/ 580 h 1078"/>
                <a:gd name="T22" fmla="*/ 1105 w 1121"/>
                <a:gd name="T23" fmla="*/ 614 h 1078"/>
                <a:gd name="T24" fmla="*/ 1086 w 1121"/>
                <a:gd name="T25" fmla="*/ 643 h 1078"/>
                <a:gd name="T26" fmla="*/ 1062 w 1121"/>
                <a:gd name="T27" fmla="*/ 669 h 1078"/>
                <a:gd name="T28" fmla="*/ 1031 w 1121"/>
                <a:gd name="T29" fmla="*/ 688 h 1078"/>
                <a:gd name="T30" fmla="*/ 223 w 1121"/>
                <a:gd name="T31" fmla="*/ 1064 h 1078"/>
                <a:gd name="T32" fmla="*/ 191 w 1121"/>
                <a:gd name="T33" fmla="*/ 1073 h 1078"/>
                <a:gd name="T34" fmla="*/ 157 w 1121"/>
                <a:gd name="T35" fmla="*/ 1078 h 1078"/>
                <a:gd name="T36" fmla="*/ 128 w 1121"/>
                <a:gd name="T37" fmla="*/ 1075 h 1078"/>
                <a:gd name="T38" fmla="*/ 100 w 1121"/>
                <a:gd name="T39" fmla="*/ 1067 h 1078"/>
                <a:gd name="T40" fmla="*/ 74 w 1121"/>
                <a:gd name="T41" fmla="*/ 1053 h 1078"/>
                <a:gd name="T42" fmla="*/ 48 w 1121"/>
                <a:gd name="T43" fmla="*/ 1033 h 1078"/>
                <a:gd name="T44" fmla="*/ 27 w 1121"/>
                <a:gd name="T45" fmla="*/ 1009 h 1078"/>
                <a:gd name="T46" fmla="*/ 13 w 1121"/>
                <a:gd name="T47" fmla="*/ 982 h 1078"/>
                <a:gd name="T48" fmla="*/ 3 w 1121"/>
                <a:gd name="T49" fmla="*/ 953 h 1078"/>
                <a:gd name="T50" fmla="*/ 0 w 1121"/>
                <a:gd name="T51" fmla="*/ 921 h 1078"/>
                <a:gd name="T52" fmla="*/ 0 w 1121"/>
                <a:gd name="T53" fmla="*/ 916 h 1078"/>
                <a:gd name="T54" fmla="*/ 5 w 1121"/>
                <a:gd name="T55" fmla="*/ 881 h 1078"/>
                <a:gd name="T56" fmla="*/ 16 w 1121"/>
                <a:gd name="T57" fmla="*/ 847 h 1078"/>
                <a:gd name="T58" fmla="*/ 35 w 1121"/>
                <a:gd name="T59" fmla="*/ 818 h 1078"/>
                <a:gd name="T60" fmla="*/ 61 w 1121"/>
                <a:gd name="T61" fmla="*/ 792 h 1078"/>
                <a:gd name="T62" fmla="*/ 92 w 1121"/>
                <a:gd name="T63" fmla="*/ 775 h 1078"/>
                <a:gd name="T64" fmla="*/ 597 w 1121"/>
                <a:gd name="T65" fmla="*/ 538 h 1078"/>
                <a:gd name="T66" fmla="*/ 92 w 1121"/>
                <a:gd name="T67" fmla="*/ 304 h 1078"/>
                <a:gd name="T68" fmla="*/ 61 w 1121"/>
                <a:gd name="T69" fmla="*/ 285 h 1078"/>
                <a:gd name="T70" fmla="*/ 35 w 1121"/>
                <a:gd name="T71" fmla="*/ 261 h 1078"/>
                <a:gd name="T72" fmla="*/ 16 w 1121"/>
                <a:gd name="T73" fmla="*/ 230 h 1078"/>
                <a:gd name="T74" fmla="*/ 5 w 1121"/>
                <a:gd name="T75" fmla="*/ 198 h 1078"/>
                <a:gd name="T76" fmla="*/ 0 w 1121"/>
                <a:gd name="T77" fmla="*/ 161 h 1078"/>
                <a:gd name="T78" fmla="*/ 0 w 1121"/>
                <a:gd name="T79" fmla="*/ 158 h 1078"/>
                <a:gd name="T80" fmla="*/ 3 w 1121"/>
                <a:gd name="T81" fmla="*/ 126 h 1078"/>
                <a:gd name="T82" fmla="*/ 13 w 1121"/>
                <a:gd name="T83" fmla="*/ 97 h 1078"/>
                <a:gd name="T84" fmla="*/ 27 w 1121"/>
                <a:gd name="T85" fmla="*/ 69 h 1078"/>
                <a:gd name="T86" fmla="*/ 48 w 1121"/>
                <a:gd name="T87" fmla="*/ 45 h 1078"/>
                <a:gd name="T88" fmla="*/ 74 w 1121"/>
                <a:gd name="T89" fmla="*/ 24 h 1078"/>
                <a:gd name="T90" fmla="*/ 100 w 1121"/>
                <a:gd name="T91" fmla="*/ 12 h 1078"/>
                <a:gd name="T92" fmla="*/ 128 w 1121"/>
                <a:gd name="T93" fmla="*/ 4 h 1078"/>
                <a:gd name="T94" fmla="*/ 157 w 1121"/>
                <a:gd name="T95" fmla="*/ 0 h 10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121" h="1078">
                  <a:moveTo>
                    <a:pt x="157" y="0"/>
                  </a:moveTo>
                  <a:lnTo>
                    <a:pt x="191" y="5"/>
                  </a:lnTo>
                  <a:lnTo>
                    <a:pt x="223" y="15"/>
                  </a:lnTo>
                  <a:lnTo>
                    <a:pt x="1031" y="391"/>
                  </a:lnTo>
                  <a:lnTo>
                    <a:pt x="1062" y="410"/>
                  </a:lnTo>
                  <a:lnTo>
                    <a:pt x="1086" y="434"/>
                  </a:lnTo>
                  <a:lnTo>
                    <a:pt x="1105" y="465"/>
                  </a:lnTo>
                  <a:lnTo>
                    <a:pt x="1118" y="498"/>
                  </a:lnTo>
                  <a:lnTo>
                    <a:pt x="1121" y="534"/>
                  </a:lnTo>
                  <a:lnTo>
                    <a:pt x="1121" y="545"/>
                  </a:lnTo>
                  <a:lnTo>
                    <a:pt x="1118" y="580"/>
                  </a:lnTo>
                  <a:lnTo>
                    <a:pt x="1105" y="614"/>
                  </a:lnTo>
                  <a:lnTo>
                    <a:pt x="1086" y="643"/>
                  </a:lnTo>
                  <a:lnTo>
                    <a:pt x="1062" y="669"/>
                  </a:lnTo>
                  <a:lnTo>
                    <a:pt x="1031" y="688"/>
                  </a:lnTo>
                  <a:lnTo>
                    <a:pt x="223" y="1064"/>
                  </a:lnTo>
                  <a:lnTo>
                    <a:pt x="191" y="1073"/>
                  </a:lnTo>
                  <a:lnTo>
                    <a:pt x="157" y="1078"/>
                  </a:lnTo>
                  <a:lnTo>
                    <a:pt x="128" y="1075"/>
                  </a:lnTo>
                  <a:lnTo>
                    <a:pt x="100" y="1067"/>
                  </a:lnTo>
                  <a:lnTo>
                    <a:pt x="74" y="1053"/>
                  </a:lnTo>
                  <a:lnTo>
                    <a:pt x="48" y="1033"/>
                  </a:lnTo>
                  <a:lnTo>
                    <a:pt x="27" y="1009"/>
                  </a:lnTo>
                  <a:lnTo>
                    <a:pt x="13" y="982"/>
                  </a:lnTo>
                  <a:lnTo>
                    <a:pt x="3" y="953"/>
                  </a:lnTo>
                  <a:lnTo>
                    <a:pt x="0" y="921"/>
                  </a:lnTo>
                  <a:lnTo>
                    <a:pt x="0" y="916"/>
                  </a:lnTo>
                  <a:lnTo>
                    <a:pt x="5" y="881"/>
                  </a:lnTo>
                  <a:lnTo>
                    <a:pt x="16" y="847"/>
                  </a:lnTo>
                  <a:lnTo>
                    <a:pt x="35" y="818"/>
                  </a:lnTo>
                  <a:lnTo>
                    <a:pt x="61" y="792"/>
                  </a:lnTo>
                  <a:lnTo>
                    <a:pt x="92" y="775"/>
                  </a:lnTo>
                  <a:lnTo>
                    <a:pt x="597" y="538"/>
                  </a:lnTo>
                  <a:lnTo>
                    <a:pt x="92" y="304"/>
                  </a:lnTo>
                  <a:lnTo>
                    <a:pt x="61" y="285"/>
                  </a:lnTo>
                  <a:lnTo>
                    <a:pt x="35" y="261"/>
                  </a:lnTo>
                  <a:lnTo>
                    <a:pt x="16" y="230"/>
                  </a:lnTo>
                  <a:lnTo>
                    <a:pt x="5" y="198"/>
                  </a:lnTo>
                  <a:lnTo>
                    <a:pt x="0" y="161"/>
                  </a:lnTo>
                  <a:lnTo>
                    <a:pt x="0" y="158"/>
                  </a:lnTo>
                  <a:lnTo>
                    <a:pt x="3" y="126"/>
                  </a:lnTo>
                  <a:lnTo>
                    <a:pt x="13" y="97"/>
                  </a:lnTo>
                  <a:lnTo>
                    <a:pt x="27" y="69"/>
                  </a:lnTo>
                  <a:lnTo>
                    <a:pt x="48" y="45"/>
                  </a:lnTo>
                  <a:lnTo>
                    <a:pt x="74" y="24"/>
                  </a:lnTo>
                  <a:lnTo>
                    <a:pt x="100" y="12"/>
                  </a:lnTo>
                  <a:lnTo>
                    <a:pt x="128" y="4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4472C4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</p:grpSp>
      <p:grpSp>
        <p:nvGrpSpPr>
          <p:cNvPr id="33" name="Group 44"/>
          <p:cNvGrpSpPr>
            <a:grpSpLocks noChangeAspect="1"/>
          </p:cNvGrpSpPr>
          <p:nvPr/>
        </p:nvGrpSpPr>
        <p:grpSpPr bwMode="auto">
          <a:xfrm>
            <a:off x="1346969" y="2665835"/>
            <a:ext cx="678054" cy="848116"/>
            <a:chOff x="2724" y="1968"/>
            <a:chExt cx="307" cy="384"/>
          </a:xfrm>
          <a:solidFill>
            <a:srgbClr val="4472C4"/>
          </a:solidFill>
        </p:grpSpPr>
        <p:sp>
          <p:nvSpPr>
            <p:cNvPr id="34" name="Freeform 46"/>
            <p:cNvSpPr>
              <a:spLocks/>
            </p:cNvSpPr>
            <p:nvPr/>
          </p:nvSpPr>
          <p:spPr bwMode="auto">
            <a:xfrm>
              <a:off x="2807" y="2128"/>
              <a:ext cx="173" cy="13"/>
            </a:xfrm>
            <a:custGeom>
              <a:avLst/>
              <a:gdLst>
                <a:gd name="T0" fmla="*/ 57 w 1555"/>
                <a:gd name="T1" fmla="*/ 0 h 115"/>
                <a:gd name="T2" fmla="*/ 1498 w 1555"/>
                <a:gd name="T3" fmla="*/ 0 h 115"/>
                <a:gd name="T4" fmla="*/ 1516 w 1555"/>
                <a:gd name="T5" fmla="*/ 3 h 115"/>
                <a:gd name="T6" fmla="*/ 1532 w 1555"/>
                <a:gd name="T7" fmla="*/ 12 h 115"/>
                <a:gd name="T8" fmla="*/ 1545 w 1555"/>
                <a:gd name="T9" fmla="*/ 24 h 115"/>
                <a:gd name="T10" fmla="*/ 1553 w 1555"/>
                <a:gd name="T11" fmla="*/ 40 h 115"/>
                <a:gd name="T12" fmla="*/ 1555 w 1555"/>
                <a:gd name="T13" fmla="*/ 58 h 115"/>
                <a:gd name="T14" fmla="*/ 1553 w 1555"/>
                <a:gd name="T15" fmla="*/ 75 h 115"/>
                <a:gd name="T16" fmla="*/ 1545 w 1555"/>
                <a:gd name="T17" fmla="*/ 92 h 115"/>
                <a:gd name="T18" fmla="*/ 1532 w 1555"/>
                <a:gd name="T19" fmla="*/ 104 h 115"/>
                <a:gd name="T20" fmla="*/ 1516 w 1555"/>
                <a:gd name="T21" fmla="*/ 112 h 115"/>
                <a:gd name="T22" fmla="*/ 1498 w 1555"/>
                <a:gd name="T23" fmla="*/ 115 h 115"/>
                <a:gd name="T24" fmla="*/ 57 w 1555"/>
                <a:gd name="T25" fmla="*/ 115 h 115"/>
                <a:gd name="T26" fmla="*/ 40 w 1555"/>
                <a:gd name="T27" fmla="*/ 112 h 115"/>
                <a:gd name="T28" fmla="*/ 24 w 1555"/>
                <a:gd name="T29" fmla="*/ 104 h 115"/>
                <a:gd name="T30" fmla="*/ 11 w 1555"/>
                <a:gd name="T31" fmla="*/ 92 h 115"/>
                <a:gd name="T32" fmla="*/ 3 w 1555"/>
                <a:gd name="T33" fmla="*/ 75 h 115"/>
                <a:gd name="T34" fmla="*/ 0 w 1555"/>
                <a:gd name="T35" fmla="*/ 58 h 115"/>
                <a:gd name="T36" fmla="*/ 3 w 1555"/>
                <a:gd name="T37" fmla="*/ 40 h 115"/>
                <a:gd name="T38" fmla="*/ 11 w 1555"/>
                <a:gd name="T39" fmla="*/ 24 h 115"/>
                <a:gd name="T40" fmla="*/ 24 w 1555"/>
                <a:gd name="T41" fmla="*/ 12 h 115"/>
                <a:gd name="T42" fmla="*/ 40 w 1555"/>
                <a:gd name="T43" fmla="*/ 3 h 115"/>
                <a:gd name="T44" fmla="*/ 57 w 1555"/>
                <a:gd name="T45" fmla="*/ 0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555" h="115">
                  <a:moveTo>
                    <a:pt x="57" y="0"/>
                  </a:moveTo>
                  <a:lnTo>
                    <a:pt x="1498" y="0"/>
                  </a:lnTo>
                  <a:lnTo>
                    <a:pt x="1516" y="3"/>
                  </a:lnTo>
                  <a:lnTo>
                    <a:pt x="1532" y="12"/>
                  </a:lnTo>
                  <a:lnTo>
                    <a:pt x="1545" y="24"/>
                  </a:lnTo>
                  <a:lnTo>
                    <a:pt x="1553" y="40"/>
                  </a:lnTo>
                  <a:lnTo>
                    <a:pt x="1555" y="58"/>
                  </a:lnTo>
                  <a:lnTo>
                    <a:pt x="1553" y="75"/>
                  </a:lnTo>
                  <a:lnTo>
                    <a:pt x="1545" y="92"/>
                  </a:lnTo>
                  <a:lnTo>
                    <a:pt x="1532" y="104"/>
                  </a:lnTo>
                  <a:lnTo>
                    <a:pt x="1516" y="112"/>
                  </a:lnTo>
                  <a:lnTo>
                    <a:pt x="1498" y="115"/>
                  </a:lnTo>
                  <a:lnTo>
                    <a:pt x="57" y="115"/>
                  </a:lnTo>
                  <a:lnTo>
                    <a:pt x="40" y="112"/>
                  </a:lnTo>
                  <a:lnTo>
                    <a:pt x="24" y="104"/>
                  </a:lnTo>
                  <a:lnTo>
                    <a:pt x="11" y="92"/>
                  </a:lnTo>
                  <a:lnTo>
                    <a:pt x="3" y="75"/>
                  </a:lnTo>
                  <a:lnTo>
                    <a:pt x="0" y="58"/>
                  </a:lnTo>
                  <a:lnTo>
                    <a:pt x="3" y="40"/>
                  </a:lnTo>
                  <a:lnTo>
                    <a:pt x="11" y="24"/>
                  </a:lnTo>
                  <a:lnTo>
                    <a:pt x="24" y="12"/>
                  </a:lnTo>
                  <a:lnTo>
                    <a:pt x="40" y="3"/>
                  </a:lnTo>
                  <a:lnTo>
                    <a:pt x="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47"/>
            <p:cNvSpPr>
              <a:spLocks/>
            </p:cNvSpPr>
            <p:nvPr/>
          </p:nvSpPr>
          <p:spPr bwMode="auto">
            <a:xfrm>
              <a:off x="2807" y="2077"/>
              <a:ext cx="77" cy="13"/>
            </a:xfrm>
            <a:custGeom>
              <a:avLst/>
              <a:gdLst>
                <a:gd name="T0" fmla="*/ 57 w 691"/>
                <a:gd name="T1" fmla="*/ 0 h 115"/>
                <a:gd name="T2" fmla="*/ 633 w 691"/>
                <a:gd name="T3" fmla="*/ 0 h 115"/>
                <a:gd name="T4" fmla="*/ 652 w 691"/>
                <a:gd name="T5" fmla="*/ 3 h 115"/>
                <a:gd name="T6" fmla="*/ 668 w 691"/>
                <a:gd name="T7" fmla="*/ 12 h 115"/>
                <a:gd name="T8" fmla="*/ 681 w 691"/>
                <a:gd name="T9" fmla="*/ 24 h 115"/>
                <a:gd name="T10" fmla="*/ 689 w 691"/>
                <a:gd name="T11" fmla="*/ 40 h 115"/>
                <a:gd name="T12" fmla="*/ 691 w 691"/>
                <a:gd name="T13" fmla="*/ 58 h 115"/>
                <a:gd name="T14" fmla="*/ 689 w 691"/>
                <a:gd name="T15" fmla="*/ 76 h 115"/>
                <a:gd name="T16" fmla="*/ 681 w 691"/>
                <a:gd name="T17" fmla="*/ 91 h 115"/>
                <a:gd name="T18" fmla="*/ 668 w 691"/>
                <a:gd name="T19" fmla="*/ 104 h 115"/>
                <a:gd name="T20" fmla="*/ 652 w 691"/>
                <a:gd name="T21" fmla="*/ 112 h 115"/>
                <a:gd name="T22" fmla="*/ 633 w 691"/>
                <a:gd name="T23" fmla="*/ 115 h 115"/>
                <a:gd name="T24" fmla="*/ 57 w 691"/>
                <a:gd name="T25" fmla="*/ 115 h 115"/>
                <a:gd name="T26" fmla="*/ 40 w 691"/>
                <a:gd name="T27" fmla="*/ 112 h 115"/>
                <a:gd name="T28" fmla="*/ 24 w 691"/>
                <a:gd name="T29" fmla="*/ 104 h 115"/>
                <a:gd name="T30" fmla="*/ 11 w 691"/>
                <a:gd name="T31" fmla="*/ 91 h 115"/>
                <a:gd name="T32" fmla="*/ 3 w 691"/>
                <a:gd name="T33" fmla="*/ 76 h 115"/>
                <a:gd name="T34" fmla="*/ 0 w 691"/>
                <a:gd name="T35" fmla="*/ 58 h 115"/>
                <a:gd name="T36" fmla="*/ 3 w 691"/>
                <a:gd name="T37" fmla="*/ 40 h 115"/>
                <a:gd name="T38" fmla="*/ 11 w 691"/>
                <a:gd name="T39" fmla="*/ 24 h 115"/>
                <a:gd name="T40" fmla="*/ 24 w 691"/>
                <a:gd name="T41" fmla="*/ 12 h 115"/>
                <a:gd name="T42" fmla="*/ 40 w 691"/>
                <a:gd name="T43" fmla="*/ 3 h 115"/>
                <a:gd name="T44" fmla="*/ 57 w 691"/>
                <a:gd name="T45" fmla="*/ 0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91" h="115">
                  <a:moveTo>
                    <a:pt x="57" y="0"/>
                  </a:moveTo>
                  <a:lnTo>
                    <a:pt x="633" y="0"/>
                  </a:lnTo>
                  <a:lnTo>
                    <a:pt x="652" y="3"/>
                  </a:lnTo>
                  <a:lnTo>
                    <a:pt x="668" y="12"/>
                  </a:lnTo>
                  <a:lnTo>
                    <a:pt x="681" y="24"/>
                  </a:lnTo>
                  <a:lnTo>
                    <a:pt x="689" y="40"/>
                  </a:lnTo>
                  <a:lnTo>
                    <a:pt x="691" y="58"/>
                  </a:lnTo>
                  <a:lnTo>
                    <a:pt x="689" y="76"/>
                  </a:lnTo>
                  <a:lnTo>
                    <a:pt x="681" y="91"/>
                  </a:lnTo>
                  <a:lnTo>
                    <a:pt x="668" y="104"/>
                  </a:lnTo>
                  <a:lnTo>
                    <a:pt x="652" y="112"/>
                  </a:lnTo>
                  <a:lnTo>
                    <a:pt x="633" y="115"/>
                  </a:lnTo>
                  <a:lnTo>
                    <a:pt x="57" y="115"/>
                  </a:lnTo>
                  <a:lnTo>
                    <a:pt x="40" y="112"/>
                  </a:lnTo>
                  <a:lnTo>
                    <a:pt x="24" y="104"/>
                  </a:lnTo>
                  <a:lnTo>
                    <a:pt x="11" y="91"/>
                  </a:lnTo>
                  <a:lnTo>
                    <a:pt x="3" y="76"/>
                  </a:lnTo>
                  <a:lnTo>
                    <a:pt x="0" y="58"/>
                  </a:lnTo>
                  <a:lnTo>
                    <a:pt x="3" y="40"/>
                  </a:lnTo>
                  <a:lnTo>
                    <a:pt x="11" y="24"/>
                  </a:lnTo>
                  <a:lnTo>
                    <a:pt x="24" y="12"/>
                  </a:lnTo>
                  <a:lnTo>
                    <a:pt x="40" y="3"/>
                  </a:lnTo>
                  <a:lnTo>
                    <a:pt x="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48"/>
            <p:cNvSpPr>
              <a:spLocks/>
            </p:cNvSpPr>
            <p:nvPr/>
          </p:nvSpPr>
          <p:spPr bwMode="auto">
            <a:xfrm>
              <a:off x="2807" y="2179"/>
              <a:ext cx="173" cy="13"/>
            </a:xfrm>
            <a:custGeom>
              <a:avLst/>
              <a:gdLst>
                <a:gd name="T0" fmla="*/ 57 w 1555"/>
                <a:gd name="T1" fmla="*/ 0 h 115"/>
                <a:gd name="T2" fmla="*/ 1498 w 1555"/>
                <a:gd name="T3" fmla="*/ 0 h 115"/>
                <a:gd name="T4" fmla="*/ 1516 w 1555"/>
                <a:gd name="T5" fmla="*/ 3 h 115"/>
                <a:gd name="T6" fmla="*/ 1532 w 1555"/>
                <a:gd name="T7" fmla="*/ 11 h 115"/>
                <a:gd name="T8" fmla="*/ 1545 w 1555"/>
                <a:gd name="T9" fmla="*/ 23 h 115"/>
                <a:gd name="T10" fmla="*/ 1553 w 1555"/>
                <a:gd name="T11" fmla="*/ 40 h 115"/>
                <a:gd name="T12" fmla="*/ 1555 w 1555"/>
                <a:gd name="T13" fmla="*/ 57 h 115"/>
                <a:gd name="T14" fmla="*/ 1553 w 1555"/>
                <a:gd name="T15" fmla="*/ 75 h 115"/>
                <a:gd name="T16" fmla="*/ 1545 w 1555"/>
                <a:gd name="T17" fmla="*/ 91 h 115"/>
                <a:gd name="T18" fmla="*/ 1532 w 1555"/>
                <a:gd name="T19" fmla="*/ 103 h 115"/>
                <a:gd name="T20" fmla="*/ 1516 w 1555"/>
                <a:gd name="T21" fmla="*/ 112 h 115"/>
                <a:gd name="T22" fmla="*/ 1498 w 1555"/>
                <a:gd name="T23" fmla="*/ 115 h 115"/>
                <a:gd name="T24" fmla="*/ 57 w 1555"/>
                <a:gd name="T25" fmla="*/ 115 h 115"/>
                <a:gd name="T26" fmla="*/ 40 w 1555"/>
                <a:gd name="T27" fmla="*/ 112 h 115"/>
                <a:gd name="T28" fmla="*/ 24 w 1555"/>
                <a:gd name="T29" fmla="*/ 103 h 115"/>
                <a:gd name="T30" fmla="*/ 11 w 1555"/>
                <a:gd name="T31" fmla="*/ 91 h 115"/>
                <a:gd name="T32" fmla="*/ 3 w 1555"/>
                <a:gd name="T33" fmla="*/ 75 h 115"/>
                <a:gd name="T34" fmla="*/ 0 w 1555"/>
                <a:gd name="T35" fmla="*/ 57 h 115"/>
                <a:gd name="T36" fmla="*/ 3 w 1555"/>
                <a:gd name="T37" fmla="*/ 40 h 115"/>
                <a:gd name="T38" fmla="*/ 11 w 1555"/>
                <a:gd name="T39" fmla="*/ 23 h 115"/>
                <a:gd name="T40" fmla="*/ 24 w 1555"/>
                <a:gd name="T41" fmla="*/ 11 h 115"/>
                <a:gd name="T42" fmla="*/ 40 w 1555"/>
                <a:gd name="T43" fmla="*/ 3 h 115"/>
                <a:gd name="T44" fmla="*/ 57 w 1555"/>
                <a:gd name="T45" fmla="*/ 0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555" h="115">
                  <a:moveTo>
                    <a:pt x="57" y="0"/>
                  </a:moveTo>
                  <a:lnTo>
                    <a:pt x="1498" y="0"/>
                  </a:lnTo>
                  <a:lnTo>
                    <a:pt x="1516" y="3"/>
                  </a:lnTo>
                  <a:lnTo>
                    <a:pt x="1532" y="11"/>
                  </a:lnTo>
                  <a:lnTo>
                    <a:pt x="1545" y="23"/>
                  </a:lnTo>
                  <a:lnTo>
                    <a:pt x="1553" y="40"/>
                  </a:lnTo>
                  <a:lnTo>
                    <a:pt x="1555" y="57"/>
                  </a:lnTo>
                  <a:lnTo>
                    <a:pt x="1553" y="75"/>
                  </a:lnTo>
                  <a:lnTo>
                    <a:pt x="1545" y="91"/>
                  </a:lnTo>
                  <a:lnTo>
                    <a:pt x="1532" y="103"/>
                  </a:lnTo>
                  <a:lnTo>
                    <a:pt x="1516" y="112"/>
                  </a:lnTo>
                  <a:lnTo>
                    <a:pt x="1498" y="115"/>
                  </a:lnTo>
                  <a:lnTo>
                    <a:pt x="57" y="115"/>
                  </a:lnTo>
                  <a:lnTo>
                    <a:pt x="40" y="112"/>
                  </a:lnTo>
                  <a:lnTo>
                    <a:pt x="24" y="103"/>
                  </a:lnTo>
                  <a:lnTo>
                    <a:pt x="11" y="91"/>
                  </a:lnTo>
                  <a:lnTo>
                    <a:pt x="3" y="75"/>
                  </a:lnTo>
                  <a:lnTo>
                    <a:pt x="0" y="57"/>
                  </a:lnTo>
                  <a:lnTo>
                    <a:pt x="3" y="40"/>
                  </a:lnTo>
                  <a:lnTo>
                    <a:pt x="11" y="23"/>
                  </a:lnTo>
                  <a:lnTo>
                    <a:pt x="24" y="11"/>
                  </a:lnTo>
                  <a:lnTo>
                    <a:pt x="40" y="3"/>
                  </a:lnTo>
                  <a:lnTo>
                    <a:pt x="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49"/>
            <p:cNvSpPr>
              <a:spLocks/>
            </p:cNvSpPr>
            <p:nvPr/>
          </p:nvSpPr>
          <p:spPr bwMode="auto">
            <a:xfrm>
              <a:off x="2807" y="2230"/>
              <a:ext cx="173" cy="13"/>
            </a:xfrm>
            <a:custGeom>
              <a:avLst/>
              <a:gdLst>
                <a:gd name="T0" fmla="*/ 57 w 1555"/>
                <a:gd name="T1" fmla="*/ 0 h 115"/>
                <a:gd name="T2" fmla="*/ 1498 w 1555"/>
                <a:gd name="T3" fmla="*/ 0 h 115"/>
                <a:gd name="T4" fmla="*/ 1516 w 1555"/>
                <a:gd name="T5" fmla="*/ 3 h 115"/>
                <a:gd name="T6" fmla="*/ 1532 w 1555"/>
                <a:gd name="T7" fmla="*/ 11 h 115"/>
                <a:gd name="T8" fmla="*/ 1545 w 1555"/>
                <a:gd name="T9" fmla="*/ 24 h 115"/>
                <a:gd name="T10" fmla="*/ 1553 w 1555"/>
                <a:gd name="T11" fmla="*/ 39 h 115"/>
                <a:gd name="T12" fmla="*/ 1555 w 1555"/>
                <a:gd name="T13" fmla="*/ 57 h 115"/>
                <a:gd name="T14" fmla="*/ 1553 w 1555"/>
                <a:gd name="T15" fmla="*/ 75 h 115"/>
                <a:gd name="T16" fmla="*/ 1545 w 1555"/>
                <a:gd name="T17" fmla="*/ 91 h 115"/>
                <a:gd name="T18" fmla="*/ 1532 w 1555"/>
                <a:gd name="T19" fmla="*/ 103 h 115"/>
                <a:gd name="T20" fmla="*/ 1516 w 1555"/>
                <a:gd name="T21" fmla="*/ 112 h 115"/>
                <a:gd name="T22" fmla="*/ 1498 w 1555"/>
                <a:gd name="T23" fmla="*/ 115 h 115"/>
                <a:gd name="T24" fmla="*/ 57 w 1555"/>
                <a:gd name="T25" fmla="*/ 115 h 115"/>
                <a:gd name="T26" fmla="*/ 40 w 1555"/>
                <a:gd name="T27" fmla="*/ 112 h 115"/>
                <a:gd name="T28" fmla="*/ 24 w 1555"/>
                <a:gd name="T29" fmla="*/ 103 h 115"/>
                <a:gd name="T30" fmla="*/ 11 w 1555"/>
                <a:gd name="T31" fmla="*/ 91 h 115"/>
                <a:gd name="T32" fmla="*/ 3 w 1555"/>
                <a:gd name="T33" fmla="*/ 75 h 115"/>
                <a:gd name="T34" fmla="*/ 0 w 1555"/>
                <a:gd name="T35" fmla="*/ 57 h 115"/>
                <a:gd name="T36" fmla="*/ 3 w 1555"/>
                <a:gd name="T37" fmla="*/ 39 h 115"/>
                <a:gd name="T38" fmla="*/ 11 w 1555"/>
                <a:gd name="T39" fmla="*/ 24 h 115"/>
                <a:gd name="T40" fmla="*/ 24 w 1555"/>
                <a:gd name="T41" fmla="*/ 11 h 115"/>
                <a:gd name="T42" fmla="*/ 40 w 1555"/>
                <a:gd name="T43" fmla="*/ 3 h 115"/>
                <a:gd name="T44" fmla="*/ 57 w 1555"/>
                <a:gd name="T45" fmla="*/ 0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555" h="115">
                  <a:moveTo>
                    <a:pt x="57" y="0"/>
                  </a:moveTo>
                  <a:lnTo>
                    <a:pt x="1498" y="0"/>
                  </a:lnTo>
                  <a:lnTo>
                    <a:pt x="1516" y="3"/>
                  </a:lnTo>
                  <a:lnTo>
                    <a:pt x="1532" y="11"/>
                  </a:lnTo>
                  <a:lnTo>
                    <a:pt x="1545" y="24"/>
                  </a:lnTo>
                  <a:lnTo>
                    <a:pt x="1553" y="39"/>
                  </a:lnTo>
                  <a:lnTo>
                    <a:pt x="1555" y="57"/>
                  </a:lnTo>
                  <a:lnTo>
                    <a:pt x="1553" y="75"/>
                  </a:lnTo>
                  <a:lnTo>
                    <a:pt x="1545" y="91"/>
                  </a:lnTo>
                  <a:lnTo>
                    <a:pt x="1532" y="103"/>
                  </a:lnTo>
                  <a:lnTo>
                    <a:pt x="1516" y="112"/>
                  </a:lnTo>
                  <a:lnTo>
                    <a:pt x="1498" y="115"/>
                  </a:lnTo>
                  <a:lnTo>
                    <a:pt x="57" y="115"/>
                  </a:lnTo>
                  <a:lnTo>
                    <a:pt x="40" y="112"/>
                  </a:lnTo>
                  <a:lnTo>
                    <a:pt x="24" y="103"/>
                  </a:lnTo>
                  <a:lnTo>
                    <a:pt x="11" y="91"/>
                  </a:lnTo>
                  <a:lnTo>
                    <a:pt x="3" y="75"/>
                  </a:lnTo>
                  <a:lnTo>
                    <a:pt x="0" y="57"/>
                  </a:lnTo>
                  <a:lnTo>
                    <a:pt x="3" y="39"/>
                  </a:lnTo>
                  <a:lnTo>
                    <a:pt x="11" y="24"/>
                  </a:lnTo>
                  <a:lnTo>
                    <a:pt x="24" y="11"/>
                  </a:lnTo>
                  <a:lnTo>
                    <a:pt x="40" y="3"/>
                  </a:lnTo>
                  <a:lnTo>
                    <a:pt x="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50"/>
            <p:cNvSpPr>
              <a:spLocks/>
            </p:cNvSpPr>
            <p:nvPr/>
          </p:nvSpPr>
          <p:spPr bwMode="auto">
            <a:xfrm>
              <a:off x="2807" y="2282"/>
              <a:ext cx="173" cy="12"/>
            </a:xfrm>
            <a:custGeom>
              <a:avLst/>
              <a:gdLst>
                <a:gd name="T0" fmla="*/ 57 w 1555"/>
                <a:gd name="T1" fmla="*/ 0 h 116"/>
                <a:gd name="T2" fmla="*/ 1498 w 1555"/>
                <a:gd name="T3" fmla="*/ 0 h 116"/>
                <a:gd name="T4" fmla="*/ 1516 w 1555"/>
                <a:gd name="T5" fmla="*/ 4 h 116"/>
                <a:gd name="T6" fmla="*/ 1532 w 1555"/>
                <a:gd name="T7" fmla="*/ 12 h 116"/>
                <a:gd name="T8" fmla="*/ 1545 w 1555"/>
                <a:gd name="T9" fmla="*/ 24 h 116"/>
                <a:gd name="T10" fmla="*/ 1553 w 1555"/>
                <a:gd name="T11" fmla="*/ 40 h 116"/>
                <a:gd name="T12" fmla="*/ 1555 w 1555"/>
                <a:gd name="T13" fmla="*/ 58 h 116"/>
                <a:gd name="T14" fmla="*/ 1553 w 1555"/>
                <a:gd name="T15" fmla="*/ 76 h 116"/>
                <a:gd name="T16" fmla="*/ 1545 w 1555"/>
                <a:gd name="T17" fmla="*/ 92 h 116"/>
                <a:gd name="T18" fmla="*/ 1532 w 1555"/>
                <a:gd name="T19" fmla="*/ 104 h 116"/>
                <a:gd name="T20" fmla="*/ 1516 w 1555"/>
                <a:gd name="T21" fmla="*/ 112 h 116"/>
                <a:gd name="T22" fmla="*/ 1498 w 1555"/>
                <a:gd name="T23" fmla="*/ 116 h 116"/>
                <a:gd name="T24" fmla="*/ 57 w 1555"/>
                <a:gd name="T25" fmla="*/ 116 h 116"/>
                <a:gd name="T26" fmla="*/ 40 w 1555"/>
                <a:gd name="T27" fmla="*/ 112 h 116"/>
                <a:gd name="T28" fmla="*/ 24 w 1555"/>
                <a:gd name="T29" fmla="*/ 104 h 116"/>
                <a:gd name="T30" fmla="*/ 11 w 1555"/>
                <a:gd name="T31" fmla="*/ 92 h 116"/>
                <a:gd name="T32" fmla="*/ 3 w 1555"/>
                <a:gd name="T33" fmla="*/ 76 h 116"/>
                <a:gd name="T34" fmla="*/ 0 w 1555"/>
                <a:gd name="T35" fmla="*/ 58 h 116"/>
                <a:gd name="T36" fmla="*/ 3 w 1555"/>
                <a:gd name="T37" fmla="*/ 40 h 116"/>
                <a:gd name="T38" fmla="*/ 11 w 1555"/>
                <a:gd name="T39" fmla="*/ 24 h 116"/>
                <a:gd name="T40" fmla="*/ 24 w 1555"/>
                <a:gd name="T41" fmla="*/ 12 h 116"/>
                <a:gd name="T42" fmla="*/ 40 w 1555"/>
                <a:gd name="T43" fmla="*/ 4 h 116"/>
                <a:gd name="T44" fmla="*/ 57 w 1555"/>
                <a:gd name="T45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555" h="116">
                  <a:moveTo>
                    <a:pt x="57" y="0"/>
                  </a:moveTo>
                  <a:lnTo>
                    <a:pt x="1498" y="0"/>
                  </a:lnTo>
                  <a:lnTo>
                    <a:pt x="1516" y="4"/>
                  </a:lnTo>
                  <a:lnTo>
                    <a:pt x="1532" y="12"/>
                  </a:lnTo>
                  <a:lnTo>
                    <a:pt x="1545" y="24"/>
                  </a:lnTo>
                  <a:lnTo>
                    <a:pt x="1553" y="40"/>
                  </a:lnTo>
                  <a:lnTo>
                    <a:pt x="1555" y="58"/>
                  </a:lnTo>
                  <a:lnTo>
                    <a:pt x="1553" y="76"/>
                  </a:lnTo>
                  <a:lnTo>
                    <a:pt x="1545" y="92"/>
                  </a:lnTo>
                  <a:lnTo>
                    <a:pt x="1532" y="104"/>
                  </a:lnTo>
                  <a:lnTo>
                    <a:pt x="1516" y="112"/>
                  </a:lnTo>
                  <a:lnTo>
                    <a:pt x="1498" y="116"/>
                  </a:lnTo>
                  <a:lnTo>
                    <a:pt x="57" y="116"/>
                  </a:lnTo>
                  <a:lnTo>
                    <a:pt x="40" y="112"/>
                  </a:lnTo>
                  <a:lnTo>
                    <a:pt x="24" y="104"/>
                  </a:lnTo>
                  <a:lnTo>
                    <a:pt x="11" y="92"/>
                  </a:lnTo>
                  <a:lnTo>
                    <a:pt x="3" y="76"/>
                  </a:lnTo>
                  <a:lnTo>
                    <a:pt x="0" y="58"/>
                  </a:lnTo>
                  <a:lnTo>
                    <a:pt x="3" y="40"/>
                  </a:lnTo>
                  <a:lnTo>
                    <a:pt x="11" y="24"/>
                  </a:lnTo>
                  <a:lnTo>
                    <a:pt x="24" y="12"/>
                  </a:lnTo>
                  <a:lnTo>
                    <a:pt x="40" y="4"/>
                  </a:lnTo>
                  <a:lnTo>
                    <a:pt x="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51"/>
            <p:cNvSpPr>
              <a:spLocks noEditPoints="1"/>
            </p:cNvSpPr>
            <p:nvPr/>
          </p:nvSpPr>
          <p:spPr bwMode="auto">
            <a:xfrm>
              <a:off x="2724" y="1968"/>
              <a:ext cx="307" cy="384"/>
            </a:xfrm>
            <a:custGeom>
              <a:avLst/>
              <a:gdLst>
                <a:gd name="T0" fmla="*/ 1959 w 2765"/>
                <a:gd name="T1" fmla="*/ 485 h 3456"/>
                <a:gd name="T2" fmla="*/ 1959 w 2765"/>
                <a:gd name="T3" fmla="*/ 1094 h 3456"/>
                <a:gd name="T4" fmla="*/ 2569 w 2765"/>
                <a:gd name="T5" fmla="*/ 1094 h 3456"/>
                <a:gd name="T6" fmla="*/ 1959 w 2765"/>
                <a:gd name="T7" fmla="*/ 485 h 3456"/>
                <a:gd name="T8" fmla="*/ 404 w 2765"/>
                <a:gd name="T9" fmla="*/ 403 h 3456"/>
                <a:gd name="T10" fmla="*/ 404 w 2765"/>
                <a:gd name="T11" fmla="*/ 3341 h 3456"/>
                <a:gd name="T12" fmla="*/ 2650 w 2765"/>
                <a:gd name="T13" fmla="*/ 3341 h 3456"/>
                <a:gd name="T14" fmla="*/ 2650 w 2765"/>
                <a:gd name="T15" fmla="*/ 1210 h 3456"/>
                <a:gd name="T16" fmla="*/ 1844 w 2765"/>
                <a:gd name="T17" fmla="*/ 1210 h 3456"/>
                <a:gd name="T18" fmla="*/ 1844 w 2765"/>
                <a:gd name="T19" fmla="*/ 403 h 3456"/>
                <a:gd name="T20" fmla="*/ 404 w 2765"/>
                <a:gd name="T21" fmla="*/ 403 h 3456"/>
                <a:gd name="T22" fmla="*/ 116 w 2765"/>
                <a:gd name="T23" fmla="*/ 115 h 3456"/>
                <a:gd name="T24" fmla="*/ 116 w 2765"/>
                <a:gd name="T25" fmla="*/ 3053 h 3456"/>
                <a:gd name="T26" fmla="*/ 288 w 2765"/>
                <a:gd name="T27" fmla="*/ 3053 h 3456"/>
                <a:gd name="T28" fmla="*/ 288 w 2765"/>
                <a:gd name="T29" fmla="*/ 288 h 3456"/>
                <a:gd name="T30" fmla="*/ 1925 w 2765"/>
                <a:gd name="T31" fmla="*/ 288 h 3456"/>
                <a:gd name="T32" fmla="*/ 2362 w 2765"/>
                <a:gd name="T33" fmla="*/ 725 h 3456"/>
                <a:gd name="T34" fmla="*/ 2362 w 2765"/>
                <a:gd name="T35" fmla="*/ 115 h 3456"/>
                <a:gd name="T36" fmla="*/ 116 w 2765"/>
                <a:gd name="T37" fmla="*/ 115 h 3456"/>
                <a:gd name="T38" fmla="*/ 0 w 2765"/>
                <a:gd name="T39" fmla="*/ 0 h 3456"/>
                <a:gd name="T40" fmla="*/ 2477 w 2765"/>
                <a:gd name="T41" fmla="*/ 0 h 3456"/>
                <a:gd name="T42" fmla="*/ 2477 w 2765"/>
                <a:gd name="T43" fmla="*/ 840 h 3456"/>
                <a:gd name="T44" fmla="*/ 2765 w 2765"/>
                <a:gd name="T45" fmla="*/ 1128 h 3456"/>
                <a:gd name="T46" fmla="*/ 2765 w 2765"/>
                <a:gd name="T47" fmla="*/ 3456 h 3456"/>
                <a:gd name="T48" fmla="*/ 288 w 2765"/>
                <a:gd name="T49" fmla="*/ 3456 h 3456"/>
                <a:gd name="T50" fmla="*/ 288 w 2765"/>
                <a:gd name="T51" fmla="*/ 3168 h 3456"/>
                <a:gd name="T52" fmla="*/ 0 w 2765"/>
                <a:gd name="T53" fmla="*/ 3168 h 3456"/>
                <a:gd name="T54" fmla="*/ 0 w 2765"/>
                <a:gd name="T55" fmla="*/ 0 h 3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765" h="3456">
                  <a:moveTo>
                    <a:pt x="1959" y="485"/>
                  </a:moveTo>
                  <a:lnTo>
                    <a:pt x="1959" y="1094"/>
                  </a:lnTo>
                  <a:lnTo>
                    <a:pt x="2569" y="1094"/>
                  </a:lnTo>
                  <a:lnTo>
                    <a:pt x="1959" y="485"/>
                  </a:lnTo>
                  <a:close/>
                  <a:moveTo>
                    <a:pt x="404" y="403"/>
                  </a:moveTo>
                  <a:lnTo>
                    <a:pt x="404" y="3341"/>
                  </a:lnTo>
                  <a:lnTo>
                    <a:pt x="2650" y="3341"/>
                  </a:lnTo>
                  <a:lnTo>
                    <a:pt x="2650" y="1210"/>
                  </a:lnTo>
                  <a:lnTo>
                    <a:pt x="1844" y="1210"/>
                  </a:lnTo>
                  <a:lnTo>
                    <a:pt x="1844" y="403"/>
                  </a:lnTo>
                  <a:lnTo>
                    <a:pt x="404" y="403"/>
                  </a:lnTo>
                  <a:close/>
                  <a:moveTo>
                    <a:pt x="116" y="115"/>
                  </a:moveTo>
                  <a:lnTo>
                    <a:pt x="116" y="3053"/>
                  </a:lnTo>
                  <a:lnTo>
                    <a:pt x="288" y="3053"/>
                  </a:lnTo>
                  <a:lnTo>
                    <a:pt x="288" y="288"/>
                  </a:lnTo>
                  <a:lnTo>
                    <a:pt x="1925" y="288"/>
                  </a:lnTo>
                  <a:lnTo>
                    <a:pt x="2362" y="725"/>
                  </a:lnTo>
                  <a:lnTo>
                    <a:pt x="2362" y="115"/>
                  </a:lnTo>
                  <a:lnTo>
                    <a:pt x="116" y="115"/>
                  </a:lnTo>
                  <a:close/>
                  <a:moveTo>
                    <a:pt x="0" y="0"/>
                  </a:moveTo>
                  <a:lnTo>
                    <a:pt x="2477" y="0"/>
                  </a:lnTo>
                  <a:lnTo>
                    <a:pt x="2477" y="840"/>
                  </a:lnTo>
                  <a:lnTo>
                    <a:pt x="2765" y="1128"/>
                  </a:lnTo>
                  <a:lnTo>
                    <a:pt x="2765" y="3456"/>
                  </a:lnTo>
                  <a:lnTo>
                    <a:pt x="288" y="3456"/>
                  </a:lnTo>
                  <a:lnTo>
                    <a:pt x="288" y="3168"/>
                  </a:lnTo>
                  <a:lnTo>
                    <a:pt x="0" y="316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0" name="Group 39"/>
          <p:cNvGrpSpPr>
            <a:grpSpLocks noChangeAspect="1"/>
          </p:cNvGrpSpPr>
          <p:nvPr/>
        </p:nvGrpSpPr>
        <p:grpSpPr bwMode="auto">
          <a:xfrm>
            <a:off x="7051329" y="2644797"/>
            <a:ext cx="804274" cy="861290"/>
            <a:chOff x="1586" y="519"/>
            <a:chExt cx="3061" cy="3278"/>
          </a:xfrm>
          <a:solidFill>
            <a:schemeClr val="accent5"/>
          </a:solidFill>
        </p:grpSpPr>
        <p:sp>
          <p:nvSpPr>
            <p:cNvPr id="41" name="Freeform 6"/>
            <p:cNvSpPr>
              <a:spLocks/>
            </p:cNvSpPr>
            <p:nvPr/>
          </p:nvSpPr>
          <p:spPr bwMode="auto">
            <a:xfrm>
              <a:off x="3445" y="2485"/>
              <a:ext cx="437" cy="110"/>
            </a:xfrm>
            <a:custGeom>
              <a:avLst/>
              <a:gdLst>
                <a:gd name="T0" fmla="*/ 110 w 876"/>
                <a:gd name="T1" fmla="*/ 0 h 219"/>
                <a:gd name="T2" fmla="*/ 766 w 876"/>
                <a:gd name="T3" fmla="*/ 0 h 219"/>
                <a:gd name="T4" fmla="*/ 800 w 876"/>
                <a:gd name="T5" fmla="*/ 6 h 219"/>
                <a:gd name="T6" fmla="*/ 830 w 876"/>
                <a:gd name="T7" fmla="*/ 22 h 219"/>
                <a:gd name="T8" fmla="*/ 854 w 876"/>
                <a:gd name="T9" fmla="*/ 46 h 219"/>
                <a:gd name="T10" fmla="*/ 870 w 876"/>
                <a:gd name="T11" fmla="*/ 76 h 219"/>
                <a:gd name="T12" fmla="*/ 876 w 876"/>
                <a:gd name="T13" fmla="*/ 109 h 219"/>
                <a:gd name="T14" fmla="*/ 870 w 876"/>
                <a:gd name="T15" fmla="*/ 145 h 219"/>
                <a:gd name="T16" fmla="*/ 854 w 876"/>
                <a:gd name="T17" fmla="*/ 175 h 219"/>
                <a:gd name="T18" fmla="*/ 830 w 876"/>
                <a:gd name="T19" fmla="*/ 199 h 219"/>
                <a:gd name="T20" fmla="*/ 800 w 876"/>
                <a:gd name="T21" fmla="*/ 213 h 219"/>
                <a:gd name="T22" fmla="*/ 766 w 876"/>
                <a:gd name="T23" fmla="*/ 219 h 219"/>
                <a:gd name="T24" fmla="*/ 110 w 876"/>
                <a:gd name="T25" fmla="*/ 219 h 219"/>
                <a:gd name="T26" fmla="*/ 76 w 876"/>
                <a:gd name="T27" fmla="*/ 213 h 219"/>
                <a:gd name="T28" fmla="*/ 44 w 876"/>
                <a:gd name="T29" fmla="*/ 199 h 219"/>
                <a:gd name="T30" fmla="*/ 22 w 876"/>
                <a:gd name="T31" fmla="*/ 175 h 219"/>
                <a:gd name="T32" fmla="*/ 6 w 876"/>
                <a:gd name="T33" fmla="*/ 145 h 219"/>
                <a:gd name="T34" fmla="*/ 0 w 876"/>
                <a:gd name="T35" fmla="*/ 109 h 219"/>
                <a:gd name="T36" fmla="*/ 6 w 876"/>
                <a:gd name="T37" fmla="*/ 76 h 219"/>
                <a:gd name="T38" fmla="*/ 22 w 876"/>
                <a:gd name="T39" fmla="*/ 46 h 219"/>
                <a:gd name="T40" fmla="*/ 44 w 876"/>
                <a:gd name="T41" fmla="*/ 22 h 219"/>
                <a:gd name="T42" fmla="*/ 76 w 876"/>
                <a:gd name="T43" fmla="*/ 6 h 219"/>
                <a:gd name="T44" fmla="*/ 110 w 876"/>
                <a:gd name="T45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76" h="219">
                  <a:moveTo>
                    <a:pt x="110" y="0"/>
                  </a:moveTo>
                  <a:lnTo>
                    <a:pt x="766" y="0"/>
                  </a:lnTo>
                  <a:lnTo>
                    <a:pt x="800" y="6"/>
                  </a:lnTo>
                  <a:lnTo>
                    <a:pt x="830" y="22"/>
                  </a:lnTo>
                  <a:lnTo>
                    <a:pt x="854" y="46"/>
                  </a:lnTo>
                  <a:lnTo>
                    <a:pt x="870" y="76"/>
                  </a:lnTo>
                  <a:lnTo>
                    <a:pt x="876" y="109"/>
                  </a:lnTo>
                  <a:lnTo>
                    <a:pt x="870" y="145"/>
                  </a:lnTo>
                  <a:lnTo>
                    <a:pt x="854" y="175"/>
                  </a:lnTo>
                  <a:lnTo>
                    <a:pt x="830" y="199"/>
                  </a:lnTo>
                  <a:lnTo>
                    <a:pt x="800" y="213"/>
                  </a:lnTo>
                  <a:lnTo>
                    <a:pt x="766" y="219"/>
                  </a:lnTo>
                  <a:lnTo>
                    <a:pt x="110" y="219"/>
                  </a:lnTo>
                  <a:lnTo>
                    <a:pt x="76" y="213"/>
                  </a:lnTo>
                  <a:lnTo>
                    <a:pt x="44" y="199"/>
                  </a:lnTo>
                  <a:lnTo>
                    <a:pt x="22" y="175"/>
                  </a:lnTo>
                  <a:lnTo>
                    <a:pt x="6" y="145"/>
                  </a:lnTo>
                  <a:lnTo>
                    <a:pt x="0" y="109"/>
                  </a:lnTo>
                  <a:lnTo>
                    <a:pt x="6" y="76"/>
                  </a:lnTo>
                  <a:lnTo>
                    <a:pt x="22" y="46"/>
                  </a:lnTo>
                  <a:lnTo>
                    <a:pt x="44" y="22"/>
                  </a:lnTo>
                  <a:lnTo>
                    <a:pt x="76" y="6"/>
                  </a:lnTo>
                  <a:lnTo>
                    <a:pt x="110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7"/>
            <p:cNvSpPr>
              <a:spLocks/>
            </p:cNvSpPr>
            <p:nvPr/>
          </p:nvSpPr>
          <p:spPr bwMode="auto">
            <a:xfrm>
              <a:off x="3554" y="792"/>
              <a:ext cx="875" cy="1693"/>
            </a:xfrm>
            <a:custGeom>
              <a:avLst/>
              <a:gdLst>
                <a:gd name="T0" fmla="*/ 108 w 1749"/>
                <a:gd name="T1" fmla="*/ 0 h 3387"/>
                <a:gd name="T2" fmla="*/ 144 w 1749"/>
                <a:gd name="T3" fmla="*/ 6 h 3387"/>
                <a:gd name="T4" fmla="*/ 174 w 1749"/>
                <a:gd name="T5" fmla="*/ 22 h 3387"/>
                <a:gd name="T6" fmla="*/ 198 w 1749"/>
                <a:gd name="T7" fmla="*/ 46 h 3387"/>
                <a:gd name="T8" fmla="*/ 212 w 1749"/>
                <a:gd name="T9" fmla="*/ 76 h 3387"/>
                <a:gd name="T10" fmla="*/ 218 w 1749"/>
                <a:gd name="T11" fmla="*/ 110 h 3387"/>
                <a:gd name="T12" fmla="*/ 218 w 1749"/>
                <a:gd name="T13" fmla="*/ 656 h 3387"/>
                <a:gd name="T14" fmla="*/ 224 w 1749"/>
                <a:gd name="T15" fmla="*/ 716 h 3387"/>
                <a:gd name="T16" fmla="*/ 240 w 1749"/>
                <a:gd name="T17" fmla="*/ 770 h 3387"/>
                <a:gd name="T18" fmla="*/ 264 w 1749"/>
                <a:gd name="T19" fmla="*/ 821 h 3387"/>
                <a:gd name="T20" fmla="*/ 296 w 1749"/>
                <a:gd name="T21" fmla="*/ 867 h 3387"/>
                <a:gd name="T22" fmla="*/ 335 w 1749"/>
                <a:gd name="T23" fmla="*/ 907 h 3387"/>
                <a:gd name="T24" fmla="*/ 381 w 1749"/>
                <a:gd name="T25" fmla="*/ 939 h 3387"/>
                <a:gd name="T26" fmla="*/ 431 w 1749"/>
                <a:gd name="T27" fmla="*/ 963 h 3387"/>
                <a:gd name="T28" fmla="*/ 487 w 1749"/>
                <a:gd name="T29" fmla="*/ 979 h 3387"/>
                <a:gd name="T30" fmla="*/ 547 w 1749"/>
                <a:gd name="T31" fmla="*/ 985 h 3387"/>
                <a:gd name="T32" fmla="*/ 1640 w 1749"/>
                <a:gd name="T33" fmla="*/ 985 h 3387"/>
                <a:gd name="T34" fmla="*/ 1674 w 1749"/>
                <a:gd name="T35" fmla="*/ 989 h 3387"/>
                <a:gd name="T36" fmla="*/ 1703 w 1749"/>
                <a:gd name="T37" fmla="*/ 1005 h 3387"/>
                <a:gd name="T38" fmla="*/ 1727 w 1749"/>
                <a:gd name="T39" fmla="*/ 1029 h 3387"/>
                <a:gd name="T40" fmla="*/ 1743 w 1749"/>
                <a:gd name="T41" fmla="*/ 1059 h 3387"/>
                <a:gd name="T42" fmla="*/ 1749 w 1749"/>
                <a:gd name="T43" fmla="*/ 1092 h 3387"/>
                <a:gd name="T44" fmla="*/ 1749 w 1749"/>
                <a:gd name="T45" fmla="*/ 3279 h 3387"/>
                <a:gd name="T46" fmla="*/ 1743 w 1749"/>
                <a:gd name="T47" fmla="*/ 3313 h 3387"/>
                <a:gd name="T48" fmla="*/ 1727 w 1749"/>
                <a:gd name="T49" fmla="*/ 3343 h 3387"/>
                <a:gd name="T50" fmla="*/ 1703 w 1749"/>
                <a:gd name="T51" fmla="*/ 3367 h 3387"/>
                <a:gd name="T52" fmla="*/ 1674 w 1749"/>
                <a:gd name="T53" fmla="*/ 3383 h 3387"/>
                <a:gd name="T54" fmla="*/ 1640 w 1749"/>
                <a:gd name="T55" fmla="*/ 3387 h 3387"/>
                <a:gd name="T56" fmla="*/ 1606 w 1749"/>
                <a:gd name="T57" fmla="*/ 3383 h 3387"/>
                <a:gd name="T58" fmla="*/ 1574 w 1749"/>
                <a:gd name="T59" fmla="*/ 3367 h 3387"/>
                <a:gd name="T60" fmla="*/ 1552 w 1749"/>
                <a:gd name="T61" fmla="*/ 3343 h 3387"/>
                <a:gd name="T62" fmla="*/ 1536 w 1749"/>
                <a:gd name="T63" fmla="*/ 3313 h 3387"/>
                <a:gd name="T64" fmla="*/ 1530 w 1749"/>
                <a:gd name="T65" fmla="*/ 3279 h 3387"/>
                <a:gd name="T66" fmla="*/ 1530 w 1749"/>
                <a:gd name="T67" fmla="*/ 1202 h 3387"/>
                <a:gd name="T68" fmla="*/ 547 w 1749"/>
                <a:gd name="T69" fmla="*/ 1202 h 3387"/>
                <a:gd name="T70" fmla="*/ 465 w 1749"/>
                <a:gd name="T71" fmla="*/ 1196 h 3387"/>
                <a:gd name="T72" fmla="*/ 389 w 1749"/>
                <a:gd name="T73" fmla="*/ 1180 h 3387"/>
                <a:gd name="T74" fmla="*/ 316 w 1749"/>
                <a:gd name="T75" fmla="*/ 1152 h 3387"/>
                <a:gd name="T76" fmla="*/ 250 w 1749"/>
                <a:gd name="T77" fmla="*/ 1114 h 3387"/>
                <a:gd name="T78" fmla="*/ 188 w 1749"/>
                <a:gd name="T79" fmla="*/ 1069 h 3387"/>
                <a:gd name="T80" fmla="*/ 134 w 1749"/>
                <a:gd name="T81" fmla="*/ 1015 h 3387"/>
                <a:gd name="T82" fmla="*/ 88 w 1749"/>
                <a:gd name="T83" fmla="*/ 953 h 3387"/>
                <a:gd name="T84" fmla="*/ 50 w 1749"/>
                <a:gd name="T85" fmla="*/ 887 h 3387"/>
                <a:gd name="T86" fmla="*/ 22 w 1749"/>
                <a:gd name="T87" fmla="*/ 813 h 3387"/>
                <a:gd name="T88" fmla="*/ 6 w 1749"/>
                <a:gd name="T89" fmla="*/ 738 h 3387"/>
                <a:gd name="T90" fmla="*/ 0 w 1749"/>
                <a:gd name="T91" fmla="*/ 656 h 3387"/>
                <a:gd name="T92" fmla="*/ 0 w 1749"/>
                <a:gd name="T93" fmla="*/ 110 h 3387"/>
                <a:gd name="T94" fmla="*/ 4 w 1749"/>
                <a:gd name="T95" fmla="*/ 76 h 3387"/>
                <a:gd name="T96" fmla="*/ 20 w 1749"/>
                <a:gd name="T97" fmla="*/ 46 h 3387"/>
                <a:gd name="T98" fmla="*/ 44 w 1749"/>
                <a:gd name="T99" fmla="*/ 22 h 3387"/>
                <a:gd name="T100" fmla="*/ 74 w 1749"/>
                <a:gd name="T101" fmla="*/ 6 h 3387"/>
                <a:gd name="T102" fmla="*/ 108 w 1749"/>
                <a:gd name="T103" fmla="*/ 0 h 3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749" h="3387">
                  <a:moveTo>
                    <a:pt x="108" y="0"/>
                  </a:moveTo>
                  <a:lnTo>
                    <a:pt x="144" y="6"/>
                  </a:lnTo>
                  <a:lnTo>
                    <a:pt x="174" y="22"/>
                  </a:lnTo>
                  <a:lnTo>
                    <a:pt x="198" y="46"/>
                  </a:lnTo>
                  <a:lnTo>
                    <a:pt x="212" y="76"/>
                  </a:lnTo>
                  <a:lnTo>
                    <a:pt x="218" y="110"/>
                  </a:lnTo>
                  <a:lnTo>
                    <a:pt x="218" y="656"/>
                  </a:lnTo>
                  <a:lnTo>
                    <a:pt x="224" y="716"/>
                  </a:lnTo>
                  <a:lnTo>
                    <a:pt x="240" y="770"/>
                  </a:lnTo>
                  <a:lnTo>
                    <a:pt x="264" y="821"/>
                  </a:lnTo>
                  <a:lnTo>
                    <a:pt x="296" y="867"/>
                  </a:lnTo>
                  <a:lnTo>
                    <a:pt x="335" y="907"/>
                  </a:lnTo>
                  <a:lnTo>
                    <a:pt x="381" y="939"/>
                  </a:lnTo>
                  <a:lnTo>
                    <a:pt x="431" y="963"/>
                  </a:lnTo>
                  <a:lnTo>
                    <a:pt x="487" y="979"/>
                  </a:lnTo>
                  <a:lnTo>
                    <a:pt x="547" y="985"/>
                  </a:lnTo>
                  <a:lnTo>
                    <a:pt x="1640" y="985"/>
                  </a:lnTo>
                  <a:lnTo>
                    <a:pt x="1674" y="989"/>
                  </a:lnTo>
                  <a:lnTo>
                    <a:pt x="1703" y="1005"/>
                  </a:lnTo>
                  <a:lnTo>
                    <a:pt x="1727" y="1029"/>
                  </a:lnTo>
                  <a:lnTo>
                    <a:pt x="1743" y="1059"/>
                  </a:lnTo>
                  <a:lnTo>
                    <a:pt x="1749" y="1092"/>
                  </a:lnTo>
                  <a:lnTo>
                    <a:pt x="1749" y="3279"/>
                  </a:lnTo>
                  <a:lnTo>
                    <a:pt x="1743" y="3313"/>
                  </a:lnTo>
                  <a:lnTo>
                    <a:pt x="1727" y="3343"/>
                  </a:lnTo>
                  <a:lnTo>
                    <a:pt x="1703" y="3367"/>
                  </a:lnTo>
                  <a:lnTo>
                    <a:pt x="1674" y="3383"/>
                  </a:lnTo>
                  <a:lnTo>
                    <a:pt x="1640" y="3387"/>
                  </a:lnTo>
                  <a:lnTo>
                    <a:pt x="1606" y="3383"/>
                  </a:lnTo>
                  <a:lnTo>
                    <a:pt x="1574" y="3367"/>
                  </a:lnTo>
                  <a:lnTo>
                    <a:pt x="1552" y="3343"/>
                  </a:lnTo>
                  <a:lnTo>
                    <a:pt x="1536" y="3313"/>
                  </a:lnTo>
                  <a:lnTo>
                    <a:pt x="1530" y="3279"/>
                  </a:lnTo>
                  <a:lnTo>
                    <a:pt x="1530" y="1202"/>
                  </a:lnTo>
                  <a:lnTo>
                    <a:pt x="547" y="1202"/>
                  </a:lnTo>
                  <a:lnTo>
                    <a:pt x="465" y="1196"/>
                  </a:lnTo>
                  <a:lnTo>
                    <a:pt x="389" y="1180"/>
                  </a:lnTo>
                  <a:lnTo>
                    <a:pt x="316" y="1152"/>
                  </a:lnTo>
                  <a:lnTo>
                    <a:pt x="250" y="1114"/>
                  </a:lnTo>
                  <a:lnTo>
                    <a:pt x="188" y="1069"/>
                  </a:lnTo>
                  <a:lnTo>
                    <a:pt x="134" y="1015"/>
                  </a:lnTo>
                  <a:lnTo>
                    <a:pt x="88" y="953"/>
                  </a:lnTo>
                  <a:lnTo>
                    <a:pt x="50" y="887"/>
                  </a:lnTo>
                  <a:lnTo>
                    <a:pt x="22" y="813"/>
                  </a:lnTo>
                  <a:lnTo>
                    <a:pt x="6" y="738"/>
                  </a:lnTo>
                  <a:lnTo>
                    <a:pt x="0" y="656"/>
                  </a:lnTo>
                  <a:lnTo>
                    <a:pt x="0" y="110"/>
                  </a:lnTo>
                  <a:lnTo>
                    <a:pt x="4" y="76"/>
                  </a:lnTo>
                  <a:lnTo>
                    <a:pt x="20" y="46"/>
                  </a:lnTo>
                  <a:lnTo>
                    <a:pt x="44" y="22"/>
                  </a:lnTo>
                  <a:lnTo>
                    <a:pt x="74" y="6"/>
                  </a:lnTo>
                  <a:lnTo>
                    <a:pt x="108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8"/>
            <p:cNvSpPr>
              <a:spLocks/>
            </p:cNvSpPr>
            <p:nvPr/>
          </p:nvSpPr>
          <p:spPr bwMode="auto">
            <a:xfrm>
              <a:off x="3335" y="1831"/>
              <a:ext cx="547" cy="108"/>
            </a:xfrm>
            <a:custGeom>
              <a:avLst/>
              <a:gdLst>
                <a:gd name="T0" fmla="*/ 109 w 1095"/>
                <a:gd name="T1" fmla="*/ 0 h 217"/>
                <a:gd name="T2" fmla="*/ 985 w 1095"/>
                <a:gd name="T3" fmla="*/ 0 h 217"/>
                <a:gd name="T4" fmla="*/ 1019 w 1095"/>
                <a:gd name="T5" fmla="*/ 6 h 217"/>
                <a:gd name="T6" fmla="*/ 1049 w 1095"/>
                <a:gd name="T7" fmla="*/ 20 h 217"/>
                <a:gd name="T8" fmla="*/ 1073 w 1095"/>
                <a:gd name="T9" fmla="*/ 44 h 217"/>
                <a:gd name="T10" fmla="*/ 1089 w 1095"/>
                <a:gd name="T11" fmla="*/ 74 h 217"/>
                <a:gd name="T12" fmla="*/ 1095 w 1095"/>
                <a:gd name="T13" fmla="*/ 110 h 217"/>
                <a:gd name="T14" fmla="*/ 1089 w 1095"/>
                <a:gd name="T15" fmla="*/ 144 h 217"/>
                <a:gd name="T16" fmla="*/ 1073 w 1095"/>
                <a:gd name="T17" fmla="*/ 174 h 217"/>
                <a:gd name="T18" fmla="*/ 1049 w 1095"/>
                <a:gd name="T19" fmla="*/ 198 h 217"/>
                <a:gd name="T20" fmla="*/ 1019 w 1095"/>
                <a:gd name="T21" fmla="*/ 213 h 217"/>
                <a:gd name="T22" fmla="*/ 985 w 1095"/>
                <a:gd name="T23" fmla="*/ 217 h 217"/>
                <a:gd name="T24" fmla="*/ 109 w 1095"/>
                <a:gd name="T25" fmla="*/ 217 h 217"/>
                <a:gd name="T26" fmla="*/ 76 w 1095"/>
                <a:gd name="T27" fmla="*/ 213 h 217"/>
                <a:gd name="T28" fmla="*/ 46 w 1095"/>
                <a:gd name="T29" fmla="*/ 198 h 217"/>
                <a:gd name="T30" fmla="*/ 22 w 1095"/>
                <a:gd name="T31" fmla="*/ 174 h 217"/>
                <a:gd name="T32" fmla="*/ 6 w 1095"/>
                <a:gd name="T33" fmla="*/ 144 h 217"/>
                <a:gd name="T34" fmla="*/ 0 w 1095"/>
                <a:gd name="T35" fmla="*/ 110 h 217"/>
                <a:gd name="T36" fmla="*/ 6 w 1095"/>
                <a:gd name="T37" fmla="*/ 74 h 217"/>
                <a:gd name="T38" fmla="*/ 22 w 1095"/>
                <a:gd name="T39" fmla="*/ 44 h 217"/>
                <a:gd name="T40" fmla="*/ 46 w 1095"/>
                <a:gd name="T41" fmla="*/ 20 h 217"/>
                <a:gd name="T42" fmla="*/ 76 w 1095"/>
                <a:gd name="T43" fmla="*/ 6 h 217"/>
                <a:gd name="T44" fmla="*/ 109 w 1095"/>
                <a:gd name="T45" fmla="*/ 0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95" h="217">
                  <a:moveTo>
                    <a:pt x="109" y="0"/>
                  </a:moveTo>
                  <a:lnTo>
                    <a:pt x="985" y="0"/>
                  </a:lnTo>
                  <a:lnTo>
                    <a:pt x="1019" y="6"/>
                  </a:lnTo>
                  <a:lnTo>
                    <a:pt x="1049" y="20"/>
                  </a:lnTo>
                  <a:lnTo>
                    <a:pt x="1073" y="44"/>
                  </a:lnTo>
                  <a:lnTo>
                    <a:pt x="1089" y="74"/>
                  </a:lnTo>
                  <a:lnTo>
                    <a:pt x="1095" y="110"/>
                  </a:lnTo>
                  <a:lnTo>
                    <a:pt x="1089" y="144"/>
                  </a:lnTo>
                  <a:lnTo>
                    <a:pt x="1073" y="174"/>
                  </a:lnTo>
                  <a:lnTo>
                    <a:pt x="1049" y="198"/>
                  </a:lnTo>
                  <a:lnTo>
                    <a:pt x="1019" y="213"/>
                  </a:lnTo>
                  <a:lnTo>
                    <a:pt x="985" y="217"/>
                  </a:lnTo>
                  <a:lnTo>
                    <a:pt x="109" y="217"/>
                  </a:lnTo>
                  <a:lnTo>
                    <a:pt x="76" y="213"/>
                  </a:lnTo>
                  <a:lnTo>
                    <a:pt x="46" y="198"/>
                  </a:lnTo>
                  <a:lnTo>
                    <a:pt x="22" y="174"/>
                  </a:lnTo>
                  <a:lnTo>
                    <a:pt x="6" y="144"/>
                  </a:lnTo>
                  <a:lnTo>
                    <a:pt x="0" y="110"/>
                  </a:lnTo>
                  <a:lnTo>
                    <a:pt x="6" y="74"/>
                  </a:lnTo>
                  <a:lnTo>
                    <a:pt x="22" y="44"/>
                  </a:lnTo>
                  <a:lnTo>
                    <a:pt x="46" y="20"/>
                  </a:lnTo>
                  <a:lnTo>
                    <a:pt x="76" y="6"/>
                  </a:lnTo>
                  <a:lnTo>
                    <a:pt x="109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9"/>
            <p:cNvSpPr>
              <a:spLocks/>
            </p:cNvSpPr>
            <p:nvPr/>
          </p:nvSpPr>
          <p:spPr bwMode="auto">
            <a:xfrm>
              <a:off x="2788" y="1831"/>
              <a:ext cx="438" cy="108"/>
            </a:xfrm>
            <a:custGeom>
              <a:avLst/>
              <a:gdLst>
                <a:gd name="T0" fmla="*/ 110 w 875"/>
                <a:gd name="T1" fmla="*/ 0 h 217"/>
                <a:gd name="T2" fmla="*/ 766 w 875"/>
                <a:gd name="T3" fmla="*/ 0 h 217"/>
                <a:gd name="T4" fmla="*/ 800 w 875"/>
                <a:gd name="T5" fmla="*/ 6 h 217"/>
                <a:gd name="T6" fmla="*/ 830 w 875"/>
                <a:gd name="T7" fmla="*/ 20 h 217"/>
                <a:gd name="T8" fmla="*/ 853 w 875"/>
                <a:gd name="T9" fmla="*/ 44 h 217"/>
                <a:gd name="T10" fmla="*/ 869 w 875"/>
                <a:gd name="T11" fmla="*/ 74 h 217"/>
                <a:gd name="T12" fmla="*/ 875 w 875"/>
                <a:gd name="T13" fmla="*/ 110 h 217"/>
                <a:gd name="T14" fmla="*/ 869 w 875"/>
                <a:gd name="T15" fmla="*/ 144 h 217"/>
                <a:gd name="T16" fmla="*/ 853 w 875"/>
                <a:gd name="T17" fmla="*/ 174 h 217"/>
                <a:gd name="T18" fmla="*/ 830 w 875"/>
                <a:gd name="T19" fmla="*/ 198 h 217"/>
                <a:gd name="T20" fmla="*/ 800 w 875"/>
                <a:gd name="T21" fmla="*/ 213 h 217"/>
                <a:gd name="T22" fmla="*/ 766 w 875"/>
                <a:gd name="T23" fmla="*/ 217 h 217"/>
                <a:gd name="T24" fmla="*/ 110 w 875"/>
                <a:gd name="T25" fmla="*/ 217 h 217"/>
                <a:gd name="T26" fmla="*/ 76 w 875"/>
                <a:gd name="T27" fmla="*/ 213 h 217"/>
                <a:gd name="T28" fmla="*/ 46 w 875"/>
                <a:gd name="T29" fmla="*/ 198 h 217"/>
                <a:gd name="T30" fmla="*/ 22 w 875"/>
                <a:gd name="T31" fmla="*/ 174 h 217"/>
                <a:gd name="T32" fmla="*/ 6 w 875"/>
                <a:gd name="T33" fmla="*/ 144 h 217"/>
                <a:gd name="T34" fmla="*/ 0 w 875"/>
                <a:gd name="T35" fmla="*/ 110 h 217"/>
                <a:gd name="T36" fmla="*/ 6 w 875"/>
                <a:gd name="T37" fmla="*/ 74 h 217"/>
                <a:gd name="T38" fmla="*/ 22 w 875"/>
                <a:gd name="T39" fmla="*/ 44 h 217"/>
                <a:gd name="T40" fmla="*/ 46 w 875"/>
                <a:gd name="T41" fmla="*/ 20 h 217"/>
                <a:gd name="T42" fmla="*/ 76 w 875"/>
                <a:gd name="T43" fmla="*/ 6 h 217"/>
                <a:gd name="T44" fmla="*/ 110 w 875"/>
                <a:gd name="T45" fmla="*/ 0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75" h="217">
                  <a:moveTo>
                    <a:pt x="110" y="0"/>
                  </a:moveTo>
                  <a:lnTo>
                    <a:pt x="766" y="0"/>
                  </a:lnTo>
                  <a:lnTo>
                    <a:pt x="800" y="6"/>
                  </a:lnTo>
                  <a:lnTo>
                    <a:pt x="830" y="20"/>
                  </a:lnTo>
                  <a:lnTo>
                    <a:pt x="853" y="44"/>
                  </a:lnTo>
                  <a:lnTo>
                    <a:pt x="869" y="74"/>
                  </a:lnTo>
                  <a:lnTo>
                    <a:pt x="875" y="110"/>
                  </a:lnTo>
                  <a:lnTo>
                    <a:pt x="869" y="144"/>
                  </a:lnTo>
                  <a:lnTo>
                    <a:pt x="853" y="174"/>
                  </a:lnTo>
                  <a:lnTo>
                    <a:pt x="830" y="198"/>
                  </a:lnTo>
                  <a:lnTo>
                    <a:pt x="800" y="213"/>
                  </a:lnTo>
                  <a:lnTo>
                    <a:pt x="766" y="217"/>
                  </a:lnTo>
                  <a:lnTo>
                    <a:pt x="110" y="217"/>
                  </a:lnTo>
                  <a:lnTo>
                    <a:pt x="76" y="213"/>
                  </a:lnTo>
                  <a:lnTo>
                    <a:pt x="46" y="198"/>
                  </a:lnTo>
                  <a:lnTo>
                    <a:pt x="22" y="174"/>
                  </a:lnTo>
                  <a:lnTo>
                    <a:pt x="6" y="144"/>
                  </a:lnTo>
                  <a:lnTo>
                    <a:pt x="0" y="110"/>
                  </a:lnTo>
                  <a:lnTo>
                    <a:pt x="6" y="74"/>
                  </a:lnTo>
                  <a:lnTo>
                    <a:pt x="22" y="44"/>
                  </a:lnTo>
                  <a:lnTo>
                    <a:pt x="46" y="20"/>
                  </a:lnTo>
                  <a:lnTo>
                    <a:pt x="76" y="6"/>
                  </a:lnTo>
                  <a:lnTo>
                    <a:pt x="110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10"/>
            <p:cNvSpPr>
              <a:spLocks/>
            </p:cNvSpPr>
            <p:nvPr/>
          </p:nvSpPr>
          <p:spPr bwMode="auto">
            <a:xfrm>
              <a:off x="2788" y="2159"/>
              <a:ext cx="220" cy="108"/>
            </a:xfrm>
            <a:custGeom>
              <a:avLst/>
              <a:gdLst>
                <a:gd name="T0" fmla="*/ 110 w 439"/>
                <a:gd name="T1" fmla="*/ 0 h 217"/>
                <a:gd name="T2" fmla="*/ 329 w 439"/>
                <a:gd name="T3" fmla="*/ 0 h 217"/>
                <a:gd name="T4" fmla="*/ 363 w 439"/>
                <a:gd name="T5" fmla="*/ 4 h 217"/>
                <a:gd name="T6" fmla="*/ 393 w 439"/>
                <a:gd name="T7" fmla="*/ 20 h 217"/>
                <a:gd name="T8" fmla="*/ 417 w 439"/>
                <a:gd name="T9" fmla="*/ 44 h 217"/>
                <a:gd name="T10" fmla="*/ 433 w 439"/>
                <a:gd name="T11" fmla="*/ 74 h 217"/>
                <a:gd name="T12" fmla="*/ 439 w 439"/>
                <a:gd name="T13" fmla="*/ 108 h 217"/>
                <a:gd name="T14" fmla="*/ 433 w 439"/>
                <a:gd name="T15" fmla="*/ 144 h 217"/>
                <a:gd name="T16" fmla="*/ 417 w 439"/>
                <a:gd name="T17" fmla="*/ 173 h 217"/>
                <a:gd name="T18" fmla="*/ 393 w 439"/>
                <a:gd name="T19" fmla="*/ 197 h 217"/>
                <a:gd name="T20" fmla="*/ 363 w 439"/>
                <a:gd name="T21" fmla="*/ 211 h 217"/>
                <a:gd name="T22" fmla="*/ 329 w 439"/>
                <a:gd name="T23" fmla="*/ 217 h 217"/>
                <a:gd name="T24" fmla="*/ 110 w 439"/>
                <a:gd name="T25" fmla="*/ 217 h 217"/>
                <a:gd name="T26" fmla="*/ 76 w 439"/>
                <a:gd name="T27" fmla="*/ 211 h 217"/>
                <a:gd name="T28" fmla="*/ 46 w 439"/>
                <a:gd name="T29" fmla="*/ 197 h 217"/>
                <a:gd name="T30" fmla="*/ 22 w 439"/>
                <a:gd name="T31" fmla="*/ 173 h 217"/>
                <a:gd name="T32" fmla="*/ 6 w 439"/>
                <a:gd name="T33" fmla="*/ 144 h 217"/>
                <a:gd name="T34" fmla="*/ 0 w 439"/>
                <a:gd name="T35" fmla="*/ 108 h 217"/>
                <a:gd name="T36" fmla="*/ 6 w 439"/>
                <a:gd name="T37" fmla="*/ 74 h 217"/>
                <a:gd name="T38" fmla="*/ 22 w 439"/>
                <a:gd name="T39" fmla="*/ 44 h 217"/>
                <a:gd name="T40" fmla="*/ 46 w 439"/>
                <a:gd name="T41" fmla="*/ 20 h 217"/>
                <a:gd name="T42" fmla="*/ 76 w 439"/>
                <a:gd name="T43" fmla="*/ 4 h 217"/>
                <a:gd name="T44" fmla="*/ 110 w 439"/>
                <a:gd name="T45" fmla="*/ 0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39" h="217">
                  <a:moveTo>
                    <a:pt x="110" y="0"/>
                  </a:moveTo>
                  <a:lnTo>
                    <a:pt x="329" y="0"/>
                  </a:lnTo>
                  <a:lnTo>
                    <a:pt x="363" y="4"/>
                  </a:lnTo>
                  <a:lnTo>
                    <a:pt x="393" y="20"/>
                  </a:lnTo>
                  <a:lnTo>
                    <a:pt x="417" y="44"/>
                  </a:lnTo>
                  <a:lnTo>
                    <a:pt x="433" y="74"/>
                  </a:lnTo>
                  <a:lnTo>
                    <a:pt x="439" y="108"/>
                  </a:lnTo>
                  <a:lnTo>
                    <a:pt x="433" y="144"/>
                  </a:lnTo>
                  <a:lnTo>
                    <a:pt x="417" y="173"/>
                  </a:lnTo>
                  <a:lnTo>
                    <a:pt x="393" y="197"/>
                  </a:lnTo>
                  <a:lnTo>
                    <a:pt x="363" y="211"/>
                  </a:lnTo>
                  <a:lnTo>
                    <a:pt x="329" y="217"/>
                  </a:lnTo>
                  <a:lnTo>
                    <a:pt x="110" y="217"/>
                  </a:lnTo>
                  <a:lnTo>
                    <a:pt x="76" y="211"/>
                  </a:lnTo>
                  <a:lnTo>
                    <a:pt x="46" y="197"/>
                  </a:lnTo>
                  <a:lnTo>
                    <a:pt x="22" y="173"/>
                  </a:lnTo>
                  <a:lnTo>
                    <a:pt x="6" y="144"/>
                  </a:lnTo>
                  <a:lnTo>
                    <a:pt x="0" y="108"/>
                  </a:lnTo>
                  <a:lnTo>
                    <a:pt x="6" y="74"/>
                  </a:lnTo>
                  <a:lnTo>
                    <a:pt x="22" y="44"/>
                  </a:lnTo>
                  <a:lnTo>
                    <a:pt x="46" y="20"/>
                  </a:lnTo>
                  <a:lnTo>
                    <a:pt x="76" y="4"/>
                  </a:lnTo>
                  <a:lnTo>
                    <a:pt x="110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11"/>
            <p:cNvSpPr>
              <a:spLocks/>
            </p:cNvSpPr>
            <p:nvPr/>
          </p:nvSpPr>
          <p:spPr bwMode="auto">
            <a:xfrm>
              <a:off x="2788" y="1503"/>
              <a:ext cx="657" cy="108"/>
            </a:xfrm>
            <a:custGeom>
              <a:avLst/>
              <a:gdLst>
                <a:gd name="T0" fmla="*/ 110 w 1312"/>
                <a:gd name="T1" fmla="*/ 0 h 218"/>
                <a:gd name="T2" fmla="*/ 1202 w 1312"/>
                <a:gd name="T3" fmla="*/ 0 h 218"/>
                <a:gd name="T4" fmla="*/ 1238 w 1312"/>
                <a:gd name="T5" fmla="*/ 6 h 218"/>
                <a:gd name="T6" fmla="*/ 1268 w 1312"/>
                <a:gd name="T7" fmla="*/ 20 h 218"/>
                <a:gd name="T8" fmla="*/ 1290 w 1312"/>
                <a:gd name="T9" fmla="*/ 44 h 218"/>
                <a:gd name="T10" fmla="*/ 1306 w 1312"/>
                <a:gd name="T11" fmla="*/ 74 h 218"/>
                <a:gd name="T12" fmla="*/ 1312 w 1312"/>
                <a:gd name="T13" fmla="*/ 110 h 218"/>
                <a:gd name="T14" fmla="*/ 1306 w 1312"/>
                <a:gd name="T15" fmla="*/ 144 h 218"/>
                <a:gd name="T16" fmla="*/ 1290 w 1312"/>
                <a:gd name="T17" fmla="*/ 174 h 218"/>
                <a:gd name="T18" fmla="*/ 1268 w 1312"/>
                <a:gd name="T19" fmla="*/ 198 h 218"/>
                <a:gd name="T20" fmla="*/ 1238 w 1312"/>
                <a:gd name="T21" fmla="*/ 214 h 218"/>
                <a:gd name="T22" fmla="*/ 1202 w 1312"/>
                <a:gd name="T23" fmla="*/ 218 h 218"/>
                <a:gd name="T24" fmla="*/ 110 w 1312"/>
                <a:gd name="T25" fmla="*/ 218 h 218"/>
                <a:gd name="T26" fmla="*/ 76 w 1312"/>
                <a:gd name="T27" fmla="*/ 214 h 218"/>
                <a:gd name="T28" fmla="*/ 46 w 1312"/>
                <a:gd name="T29" fmla="*/ 198 h 218"/>
                <a:gd name="T30" fmla="*/ 22 w 1312"/>
                <a:gd name="T31" fmla="*/ 174 h 218"/>
                <a:gd name="T32" fmla="*/ 6 w 1312"/>
                <a:gd name="T33" fmla="*/ 144 h 218"/>
                <a:gd name="T34" fmla="*/ 0 w 1312"/>
                <a:gd name="T35" fmla="*/ 110 h 218"/>
                <a:gd name="T36" fmla="*/ 6 w 1312"/>
                <a:gd name="T37" fmla="*/ 74 h 218"/>
                <a:gd name="T38" fmla="*/ 22 w 1312"/>
                <a:gd name="T39" fmla="*/ 44 h 218"/>
                <a:gd name="T40" fmla="*/ 46 w 1312"/>
                <a:gd name="T41" fmla="*/ 20 h 218"/>
                <a:gd name="T42" fmla="*/ 76 w 1312"/>
                <a:gd name="T43" fmla="*/ 6 h 218"/>
                <a:gd name="T44" fmla="*/ 110 w 1312"/>
                <a:gd name="T45" fmla="*/ 0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312" h="218">
                  <a:moveTo>
                    <a:pt x="110" y="0"/>
                  </a:moveTo>
                  <a:lnTo>
                    <a:pt x="1202" y="0"/>
                  </a:lnTo>
                  <a:lnTo>
                    <a:pt x="1238" y="6"/>
                  </a:lnTo>
                  <a:lnTo>
                    <a:pt x="1268" y="20"/>
                  </a:lnTo>
                  <a:lnTo>
                    <a:pt x="1290" y="44"/>
                  </a:lnTo>
                  <a:lnTo>
                    <a:pt x="1306" y="74"/>
                  </a:lnTo>
                  <a:lnTo>
                    <a:pt x="1312" y="110"/>
                  </a:lnTo>
                  <a:lnTo>
                    <a:pt x="1306" y="144"/>
                  </a:lnTo>
                  <a:lnTo>
                    <a:pt x="1290" y="174"/>
                  </a:lnTo>
                  <a:lnTo>
                    <a:pt x="1268" y="198"/>
                  </a:lnTo>
                  <a:lnTo>
                    <a:pt x="1238" y="214"/>
                  </a:lnTo>
                  <a:lnTo>
                    <a:pt x="1202" y="218"/>
                  </a:lnTo>
                  <a:lnTo>
                    <a:pt x="110" y="218"/>
                  </a:lnTo>
                  <a:lnTo>
                    <a:pt x="76" y="214"/>
                  </a:lnTo>
                  <a:lnTo>
                    <a:pt x="46" y="198"/>
                  </a:lnTo>
                  <a:lnTo>
                    <a:pt x="22" y="174"/>
                  </a:lnTo>
                  <a:lnTo>
                    <a:pt x="6" y="144"/>
                  </a:lnTo>
                  <a:lnTo>
                    <a:pt x="0" y="110"/>
                  </a:lnTo>
                  <a:lnTo>
                    <a:pt x="6" y="74"/>
                  </a:lnTo>
                  <a:lnTo>
                    <a:pt x="22" y="44"/>
                  </a:lnTo>
                  <a:lnTo>
                    <a:pt x="46" y="20"/>
                  </a:lnTo>
                  <a:lnTo>
                    <a:pt x="76" y="6"/>
                  </a:lnTo>
                  <a:lnTo>
                    <a:pt x="110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12"/>
            <p:cNvSpPr>
              <a:spLocks/>
            </p:cNvSpPr>
            <p:nvPr/>
          </p:nvSpPr>
          <p:spPr bwMode="auto">
            <a:xfrm>
              <a:off x="3117" y="2159"/>
              <a:ext cx="656" cy="108"/>
            </a:xfrm>
            <a:custGeom>
              <a:avLst/>
              <a:gdLst>
                <a:gd name="T0" fmla="*/ 110 w 1312"/>
                <a:gd name="T1" fmla="*/ 0 h 217"/>
                <a:gd name="T2" fmla="*/ 1202 w 1312"/>
                <a:gd name="T3" fmla="*/ 0 h 217"/>
                <a:gd name="T4" fmla="*/ 1236 w 1312"/>
                <a:gd name="T5" fmla="*/ 4 h 217"/>
                <a:gd name="T6" fmla="*/ 1266 w 1312"/>
                <a:gd name="T7" fmla="*/ 20 h 217"/>
                <a:gd name="T8" fmla="*/ 1290 w 1312"/>
                <a:gd name="T9" fmla="*/ 44 h 217"/>
                <a:gd name="T10" fmla="*/ 1306 w 1312"/>
                <a:gd name="T11" fmla="*/ 74 h 217"/>
                <a:gd name="T12" fmla="*/ 1312 w 1312"/>
                <a:gd name="T13" fmla="*/ 108 h 217"/>
                <a:gd name="T14" fmla="*/ 1306 w 1312"/>
                <a:gd name="T15" fmla="*/ 144 h 217"/>
                <a:gd name="T16" fmla="*/ 1290 w 1312"/>
                <a:gd name="T17" fmla="*/ 173 h 217"/>
                <a:gd name="T18" fmla="*/ 1266 w 1312"/>
                <a:gd name="T19" fmla="*/ 197 h 217"/>
                <a:gd name="T20" fmla="*/ 1236 w 1312"/>
                <a:gd name="T21" fmla="*/ 211 h 217"/>
                <a:gd name="T22" fmla="*/ 1202 w 1312"/>
                <a:gd name="T23" fmla="*/ 217 h 217"/>
                <a:gd name="T24" fmla="*/ 110 w 1312"/>
                <a:gd name="T25" fmla="*/ 217 h 217"/>
                <a:gd name="T26" fmla="*/ 76 w 1312"/>
                <a:gd name="T27" fmla="*/ 211 h 217"/>
                <a:gd name="T28" fmla="*/ 46 w 1312"/>
                <a:gd name="T29" fmla="*/ 197 h 217"/>
                <a:gd name="T30" fmla="*/ 22 w 1312"/>
                <a:gd name="T31" fmla="*/ 173 h 217"/>
                <a:gd name="T32" fmla="*/ 4 w 1312"/>
                <a:gd name="T33" fmla="*/ 144 h 217"/>
                <a:gd name="T34" fmla="*/ 0 w 1312"/>
                <a:gd name="T35" fmla="*/ 108 h 217"/>
                <a:gd name="T36" fmla="*/ 4 w 1312"/>
                <a:gd name="T37" fmla="*/ 74 h 217"/>
                <a:gd name="T38" fmla="*/ 22 w 1312"/>
                <a:gd name="T39" fmla="*/ 44 h 217"/>
                <a:gd name="T40" fmla="*/ 46 w 1312"/>
                <a:gd name="T41" fmla="*/ 20 h 217"/>
                <a:gd name="T42" fmla="*/ 76 w 1312"/>
                <a:gd name="T43" fmla="*/ 4 h 217"/>
                <a:gd name="T44" fmla="*/ 110 w 1312"/>
                <a:gd name="T45" fmla="*/ 0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312" h="217">
                  <a:moveTo>
                    <a:pt x="110" y="0"/>
                  </a:moveTo>
                  <a:lnTo>
                    <a:pt x="1202" y="0"/>
                  </a:lnTo>
                  <a:lnTo>
                    <a:pt x="1236" y="4"/>
                  </a:lnTo>
                  <a:lnTo>
                    <a:pt x="1266" y="20"/>
                  </a:lnTo>
                  <a:lnTo>
                    <a:pt x="1290" y="44"/>
                  </a:lnTo>
                  <a:lnTo>
                    <a:pt x="1306" y="74"/>
                  </a:lnTo>
                  <a:lnTo>
                    <a:pt x="1312" y="108"/>
                  </a:lnTo>
                  <a:lnTo>
                    <a:pt x="1306" y="144"/>
                  </a:lnTo>
                  <a:lnTo>
                    <a:pt x="1290" y="173"/>
                  </a:lnTo>
                  <a:lnTo>
                    <a:pt x="1266" y="197"/>
                  </a:lnTo>
                  <a:lnTo>
                    <a:pt x="1236" y="211"/>
                  </a:lnTo>
                  <a:lnTo>
                    <a:pt x="1202" y="217"/>
                  </a:lnTo>
                  <a:lnTo>
                    <a:pt x="110" y="217"/>
                  </a:lnTo>
                  <a:lnTo>
                    <a:pt x="76" y="211"/>
                  </a:lnTo>
                  <a:lnTo>
                    <a:pt x="46" y="197"/>
                  </a:lnTo>
                  <a:lnTo>
                    <a:pt x="22" y="173"/>
                  </a:lnTo>
                  <a:lnTo>
                    <a:pt x="4" y="144"/>
                  </a:lnTo>
                  <a:lnTo>
                    <a:pt x="0" y="108"/>
                  </a:lnTo>
                  <a:lnTo>
                    <a:pt x="4" y="74"/>
                  </a:lnTo>
                  <a:lnTo>
                    <a:pt x="22" y="44"/>
                  </a:lnTo>
                  <a:lnTo>
                    <a:pt x="46" y="20"/>
                  </a:lnTo>
                  <a:lnTo>
                    <a:pt x="76" y="4"/>
                  </a:lnTo>
                  <a:lnTo>
                    <a:pt x="110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13"/>
            <p:cNvSpPr>
              <a:spLocks/>
            </p:cNvSpPr>
            <p:nvPr/>
          </p:nvSpPr>
          <p:spPr bwMode="auto">
            <a:xfrm>
              <a:off x="3445" y="2813"/>
              <a:ext cx="218" cy="110"/>
            </a:xfrm>
            <a:custGeom>
              <a:avLst/>
              <a:gdLst>
                <a:gd name="T0" fmla="*/ 110 w 437"/>
                <a:gd name="T1" fmla="*/ 0 h 219"/>
                <a:gd name="T2" fmla="*/ 327 w 437"/>
                <a:gd name="T3" fmla="*/ 0 h 219"/>
                <a:gd name="T4" fmla="*/ 363 w 437"/>
                <a:gd name="T5" fmla="*/ 6 h 219"/>
                <a:gd name="T6" fmla="*/ 393 w 437"/>
                <a:gd name="T7" fmla="*/ 22 h 219"/>
                <a:gd name="T8" fmla="*/ 417 w 437"/>
                <a:gd name="T9" fmla="*/ 45 h 219"/>
                <a:gd name="T10" fmla="*/ 431 w 437"/>
                <a:gd name="T11" fmla="*/ 75 h 219"/>
                <a:gd name="T12" fmla="*/ 437 w 437"/>
                <a:gd name="T13" fmla="*/ 109 h 219"/>
                <a:gd name="T14" fmla="*/ 431 w 437"/>
                <a:gd name="T15" fmla="*/ 143 h 219"/>
                <a:gd name="T16" fmla="*/ 417 w 437"/>
                <a:gd name="T17" fmla="*/ 173 h 219"/>
                <a:gd name="T18" fmla="*/ 393 w 437"/>
                <a:gd name="T19" fmla="*/ 197 h 219"/>
                <a:gd name="T20" fmla="*/ 363 w 437"/>
                <a:gd name="T21" fmla="*/ 213 h 219"/>
                <a:gd name="T22" fmla="*/ 327 w 437"/>
                <a:gd name="T23" fmla="*/ 219 h 219"/>
                <a:gd name="T24" fmla="*/ 110 w 437"/>
                <a:gd name="T25" fmla="*/ 219 h 219"/>
                <a:gd name="T26" fmla="*/ 76 w 437"/>
                <a:gd name="T27" fmla="*/ 213 h 219"/>
                <a:gd name="T28" fmla="*/ 44 w 437"/>
                <a:gd name="T29" fmla="*/ 197 h 219"/>
                <a:gd name="T30" fmla="*/ 22 w 437"/>
                <a:gd name="T31" fmla="*/ 173 h 219"/>
                <a:gd name="T32" fmla="*/ 6 w 437"/>
                <a:gd name="T33" fmla="*/ 143 h 219"/>
                <a:gd name="T34" fmla="*/ 0 w 437"/>
                <a:gd name="T35" fmla="*/ 109 h 219"/>
                <a:gd name="T36" fmla="*/ 6 w 437"/>
                <a:gd name="T37" fmla="*/ 75 h 219"/>
                <a:gd name="T38" fmla="*/ 22 w 437"/>
                <a:gd name="T39" fmla="*/ 45 h 219"/>
                <a:gd name="T40" fmla="*/ 44 w 437"/>
                <a:gd name="T41" fmla="*/ 22 h 219"/>
                <a:gd name="T42" fmla="*/ 76 w 437"/>
                <a:gd name="T43" fmla="*/ 6 h 219"/>
                <a:gd name="T44" fmla="*/ 110 w 437"/>
                <a:gd name="T45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37" h="219">
                  <a:moveTo>
                    <a:pt x="110" y="0"/>
                  </a:moveTo>
                  <a:lnTo>
                    <a:pt x="327" y="0"/>
                  </a:lnTo>
                  <a:lnTo>
                    <a:pt x="363" y="6"/>
                  </a:lnTo>
                  <a:lnTo>
                    <a:pt x="393" y="22"/>
                  </a:lnTo>
                  <a:lnTo>
                    <a:pt x="417" y="45"/>
                  </a:lnTo>
                  <a:lnTo>
                    <a:pt x="431" y="75"/>
                  </a:lnTo>
                  <a:lnTo>
                    <a:pt x="437" y="109"/>
                  </a:lnTo>
                  <a:lnTo>
                    <a:pt x="431" y="143"/>
                  </a:lnTo>
                  <a:lnTo>
                    <a:pt x="417" y="173"/>
                  </a:lnTo>
                  <a:lnTo>
                    <a:pt x="393" y="197"/>
                  </a:lnTo>
                  <a:lnTo>
                    <a:pt x="363" y="213"/>
                  </a:lnTo>
                  <a:lnTo>
                    <a:pt x="327" y="219"/>
                  </a:lnTo>
                  <a:lnTo>
                    <a:pt x="110" y="219"/>
                  </a:lnTo>
                  <a:lnTo>
                    <a:pt x="76" y="213"/>
                  </a:lnTo>
                  <a:lnTo>
                    <a:pt x="44" y="197"/>
                  </a:lnTo>
                  <a:lnTo>
                    <a:pt x="22" y="173"/>
                  </a:lnTo>
                  <a:lnTo>
                    <a:pt x="6" y="143"/>
                  </a:lnTo>
                  <a:lnTo>
                    <a:pt x="0" y="109"/>
                  </a:lnTo>
                  <a:lnTo>
                    <a:pt x="6" y="75"/>
                  </a:lnTo>
                  <a:lnTo>
                    <a:pt x="22" y="45"/>
                  </a:lnTo>
                  <a:lnTo>
                    <a:pt x="44" y="22"/>
                  </a:lnTo>
                  <a:lnTo>
                    <a:pt x="76" y="6"/>
                  </a:lnTo>
                  <a:lnTo>
                    <a:pt x="110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14"/>
            <p:cNvSpPr>
              <a:spLocks/>
            </p:cNvSpPr>
            <p:nvPr/>
          </p:nvSpPr>
          <p:spPr bwMode="auto">
            <a:xfrm>
              <a:off x="2788" y="2485"/>
              <a:ext cx="547" cy="110"/>
            </a:xfrm>
            <a:custGeom>
              <a:avLst/>
              <a:gdLst>
                <a:gd name="T0" fmla="*/ 110 w 1093"/>
                <a:gd name="T1" fmla="*/ 0 h 219"/>
                <a:gd name="T2" fmla="*/ 985 w 1093"/>
                <a:gd name="T3" fmla="*/ 0 h 219"/>
                <a:gd name="T4" fmla="*/ 1019 w 1093"/>
                <a:gd name="T5" fmla="*/ 6 h 219"/>
                <a:gd name="T6" fmla="*/ 1049 w 1093"/>
                <a:gd name="T7" fmla="*/ 22 h 219"/>
                <a:gd name="T8" fmla="*/ 1073 w 1093"/>
                <a:gd name="T9" fmla="*/ 46 h 219"/>
                <a:gd name="T10" fmla="*/ 1089 w 1093"/>
                <a:gd name="T11" fmla="*/ 76 h 219"/>
                <a:gd name="T12" fmla="*/ 1093 w 1093"/>
                <a:gd name="T13" fmla="*/ 109 h 219"/>
                <a:gd name="T14" fmla="*/ 1089 w 1093"/>
                <a:gd name="T15" fmla="*/ 145 h 219"/>
                <a:gd name="T16" fmla="*/ 1073 w 1093"/>
                <a:gd name="T17" fmla="*/ 175 h 219"/>
                <a:gd name="T18" fmla="*/ 1049 w 1093"/>
                <a:gd name="T19" fmla="*/ 199 h 219"/>
                <a:gd name="T20" fmla="*/ 1019 w 1093"/>
                <a:gd name="T21" fmla="*/ 213 h 219"/>
                <a:gd name="T22" fmla="*/ 985 w 1093"/>
                <a:gd name="T23" fmla="*/ 219 h 219"/>
                <a:gd name="T24" fmla="*/ 110 w 1093"/>
                <a:gd name="T25" fmla="*/ 219 h 219"/>
                <a:gd name="T26" fmla="*/ 76 w 1093"/>
                <a:gd name="T27" fmla="*/ 213 h 219"/>
                <a:gd name="T28" fmla="*/ 46 w 1093"/>
                <a:gd name="T29" fmla="*/ 199 h 219"/>
                <a:gd name="T30" fmla="*/ 22 w 1093"/>
                <a:gd name="T31" fmla="*/ 175 h 219"/>
                <a:gd name="T32" fmla="*/ 6 w 1093"/>
                <a:gd name="T33" fmla="*/ 145 h 219"/>
                <a:gd name="T34" fmla="*/ 0 w 1093"/>
                <a:gd name="T35" fmla="*/ 109 h 219"/>
                <a:gd name="T36" fmla="*/ 6 w 1093"/>
                <a:gd name="T37" fmla="*/ 76 h 219"/>
                <a:gd name="T38" fmla="*/ 22 w 1093"/>
                <a:gd name="T39" fmla="*/ 46 h 219"/>
                <a:gd name="T40" fmla="*/ 46 w 1093"/>
                <a:gd name="T41" fmla="*/ 22 h 219"/>
                <a:gd name="T42" fmla="*/ 76 w 1093"/>
                <a:gd name="T43" fmla="*/ 6 h 219"/>
                <a:gd name="T44" fmla="*/ 110 w 1093"/>
                <a:gd name="T45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93" h="219">
                  <a:moveTo>
                    <a:pt x="110" y="0"/>
                  </a:moveTo>
                  <a:lnTo>
                    <a:pt x="985" y="0"/>
                  </a:lnTo>
                  <a:lnTo>
                    <a:pt x="1019" y="6"/>
                  </a:lnTo>
                  <a:lnTo>
                    <a:pt x="1049" y="22"/>
                  </a:lnTo>
                  <a:lnTo>
                    <a:pt x="1073" y="46"/>
                  </a:lnTo>
                  <a:lnTo>
                    <a:pt x="1089" y="76"/>
                  </a:lnTo>
                  <a:lnTo>
                    <a:pt x="1093" y="109"/>
                  </a:lnTo>
                  <a:lnTo>
                    <a:pt x="1089" y="145"/>
                  </a:lnTo>
                  <a:lnTo>
                    <a:pt x="1073" y="175"/>
                  </a:lnTo>
                  <a:lnTo>
                    <a:pt x="1049" y="199"/>
                  </a:lnTo>
                  <a:lnTo>
                    <a:pt x="1019" y="213"/>
                  </a:lnTo>
                  <a:lnTo>
                    <a:pt x="985" y="219"/>
                  </a:lnTo>
                  <a:lnTo>
                    <a:pt x="110" y="219"/>
                  </a:lnTo>
                  <a:lnTo>
                    <a:pt x="76" y="213"/>
                  </a:lnTo>
                  <a:lnTo>
                    <a:pt x="46" y="199"/>
                  </a:lnTo>
                  <a:lnTo>
                    <a:pt x="22" y="175"/>
                  </a:lnTo>
                  <a:lnTo>
                    <a:pt x="6" y="145"/>
                  </a:lnTo>
                  <a:lnTo>
                    <a:pt x="0" y="109"/>
                  </a:lnTo>
                  <a:lnTo>
                    <a:pt x="6" y="76"/>
                  </a:lnTo>
                  <a:lnTo>
                    <a:pt x="22" y="46"/>
                  </a:lnTo>
                  <a:lnTo>
                    <a:pt x="46" y="22"/>
                  </a:lnTo>
                  <a:lnTo>
                    <a:pt x="76" y="6"/>
                  </a:lnTo>
                  <a:lnTo>
                    <a:pt x="110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15"/>
            <p:cNvSpPr>
              <a:spLocks/>
            </p:cNvSpPr>
            <p:nvPr/>
          </p:nvSpPr>
          <p:spPr bwMode="auto">
            <a:xfrm>
              <a:off x="2788" y="2813"/>
              <a:ext cx="547" cy="110"/>
            </a:xfrm>
            <a:custGeom>
              <a:avLst/>
              <a:gdLst>
                <a:gd name="T0" fmla="*/ 110 w 1093"/>
                <a:gd name="T1" fmla="*/ 0 h 219"/>
                <a:gd name="T2" fmla="*/ 985 w 1093"/>
                <a:gd name="T3" fmla="*/ 0 h 219"/>
                <a:gd name="T4" fmla="*/ 1019 w 1093"/>
                <a:gd name="T5" fmla="*/ 6 h 219"/>
                <a:gd name="T6" fmla="*/ 1049 w 1093"/>
                <a:gd name="T7" fmla="*/ 22 h 219"/>
                <a:gd name="T8" fmla="*/ 1073 w 1093"/>
                <a:gd name="T9" fmla="*/ 45 h 219"/>
                <a:gd name="T10" fmla="*/ 1089 w 1093"/>
                <a:gd name="T11" fmla="*/ 75 h 219"/>
                <a:gd name="T12" fmla="*/ 1093 w 1093"/>
                <a:gd name="T13" fmla="*/ 109 h 219"/>
                <a:gd name="T14" fmla="*/ 1089 w 1093"/>
                <a:gd name="T15" fmla="*/ 143 h 219"/>
                <a:gd name="T16" fmla="*/ 1073 w 1093"/>
                <a:gd name="T17" fmla="*/ 173 h 219"/>
                <a:gd name="T18" fmla="*/ 1049 w 1093"/>
                <a:gd name="T19" fmla="*/ 197 h 219"/>
                <a:gd name="T20" fmla="*/ 1019 w 1093"/>
                <a:gd name="T21" fmla="*/ 213 h 219"/>
                <a:gd name="T22" fmla="*/ 985 w 1093"/>
                <a:gd name="T23" fmla="*/ 219 h 219"/>
                <a:gd name="T24" fmla="*/ 110 w 1093"/>
                <a:gd name="T25" fmla="*/ 219 h 219"/>
                <a:gd name="T26" fmla="*/ 76 w 1093"/>
                <a:gd name="T27" fmla="*/ 213 h 219"/>
                <a:gd name="T28" fmla="*/ 46 w 1093"/>
                <a:gd name="T29" fmla="*/ 197 h 219"/>
                <a:gd name="T30" fmla="*/ 22 w 1093"/>
                <a:gd name="T31" fmla="*/ 173 h 219"/>
                <a:gd name="T32" fmla="*/ 6 w 1093"/>
                <a:gd name="T33" fmla="*/ 143 h 219"/>
                <a:gd name="T34" fmla="*/ 0 w 1093"/>
                <a:gd name="T35" fmla="*/ 109 h 219"/>
                <a:gd name="T36" fmla="*/ 6 w 1093"/>
                <a:gd name="T37" fmla="*/ 75 h 219"/>
                <a:gd name="T38" fmla="*/ 22 w 1093"/>
                <a:gd name="T39" fmla="*/ 45 h 219"/>
                <a:gd name="T40" fmla="*/ 46 w 1093"/>
                <a:gd name="T41" fmla="*/ 22 h 219"/>
                <a:gd name="T42" fmla="*/ 76 w 1093"/>
                <a:gd name="T43" fmla="*/ 6 h 219"/>
                <a:gd name="T44" fmla="*/ 110 w 1093"/>
                <a:gd name="T45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93" h="219">
                  <a:moveTo>
                    <a:pt x="110" y="0"/>
                  </a:moveTo>
                  <a:lnTo>
                    <a:pt x="985" y="0"/>
                  </a:lnTo>
                  <a:lnTo>
                    <a:pt x="1019" y="6"/>
                  </a:lnTo>
                  <a:lnTo>
                    <a:pt x="1049" y="22"/>
                  </a:lnTo>
                  <a:lnTo>
                    <a:pt x="1073" y="45"/>
                  </a:lnTo>
                  <a:lnTo>
                    <a:pt x="1089" y="75"/>
                  </a:lnTo>
                  <a:lnTo>
                    <a:pt x="1093" y="109"/>
                  </a:lnTo>
                  <a:lnTo>
                    <a:pt x="1089" y="143"/>
                  </a:lnTo>
                  <a:lnTo>
                    <a:pt x="1073" y="173"/>
                  </a:lnTo>
                  <a:lnTo>
                    <a:pt x="1049" y="197"/>
                  </a:lnTo>
                  <a:lnTo>
                    <a:pt x="1019" y="213"/>
                  </a:lnTo>
                  <a:lnTo>
                    <a:pt x="985" y="219"/>
                  </a:lnTo>
                  <a:lnTo>
                    <a:pt x="110" y="219"/>
                  </a:lnTo>
                  <a:lnTo>
                    <a:pt x="76" y="213"/>
                  </a:lnTo>
                  <a:lnTo>
                    <a:pt x="46" y="197"/>
                  </a:lnTo>
                  <a:lnTo>
                    <a:pt x="22" y="173"/>
                  </a:lnTo>
                  <a:lnTo>
                    <a:pt x="6" y="143"/>
                  </a:lnTo>
                  <a:lnTo>
                    <a:pt x="0" y="109"/>
                  </a:lnTo>
                  <a:lnTo>
                    <a:pt x="6" y="75"/>
                  </a:lnTo>
                  <a:lnTo>
                    <a:pt x="22" y="45"/>
                  </a:lnTo>
                  <a:lnTo>
                    <a:pt x="46" y="22"/>
                  </a:lnTo>
                  <a:lnTo>
                    <a:pt x="76" y="6"/>
                  </a:lnTo>
                  <a:lnTo>
                    <a:pt x="110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16"/>
            <p:cNvSpPr>
              <a:spLocks noEditPoints="1"/>
            </p:cNvSpPr>
            <p:nvPr/>
          </p:nvSpPr>
          <p:spPr bwMode="auto">
            <a:xfrm>
              <a:off x="3445" y="2597"/>
              <a:ext cx="1202" cy="1200"/>
            </a:xfrm>
            <a:custGeom>
              <a:avLst/>
              <a:gdLst>
                <a:gd name="T0" fmla="*/ 219 w 2405"/>
                <a:gd name="T1" fmla="*/ 2181 h 2400"/>
                <a:gd name="T2" fmla="*/ 219 w 2405"/>
                <a:gd name="T3" fmla="*/ 1680 h 2400"/>
                <a:gd name="T4" fmla="*/ 702 w 2405"/>
                <a:gd name="T5" fmla="*/ 1854 h 2400"/>
                <a:gd name="T6" fmla="*/ 1825 w 2405"/>
                <a:gd name="T7" fmla="*/ 1078 h 2400"/>
                <a:gd name="T8" fmla="*/ 1322 w 2405"/>
                <a:gd name="T9" fmla="*/ 576 h 2400"/>
                <a:gd name="T10" fmla="*/ 546 w 2405"/>
                <a:gd name="T11" fmla="*/ 1698 h 2400"/>
                <a:gd name="T12" fmla="*/ 1322 w 2405"/>
                <a:gd name="T13" fmla="*/ 576 h 2400"/>
                <a:gd name="T14" fmla="*/ 1739 w 2405"/>
                <a:gd name="T15" fmla="*/ 217 h 2400"/>
                <a:gd name="T16" fmla="*/ 1657 w 2405"/>
                <a:gd name="T17" fmla="*/ 249 h 2400"/>
                <a:gd name="T18" fmla="*/ 1478 w 2405"/>
                <a:gd name="T19" fmla="*/ 423 h 2400"/>
                <a:gd name="T20" fmla="*/ 2120 w 2405"/>
                <a:gd name="T21" fmla="*/ 781 h 2400"/>
                <a:gd name="T22" fmla="*/ 2174 w 2405"/>
                <a:gd name="T23" fmla="*/ 704 h 2400"/>
                <a:gd name="T24" fmla="*/ 2186 w 2405"/>
                <a:gd name="T25" fmla="*/ 620 h 2400"/>
                <a:gd name="T26" fmla="*/ 2152 w 2405"/>
                <a:gd name="T27" fmla="*/ 538 h 2400"/>
                <a:gd name="T28" fmla="*/ 1901 w 2405"/>
                <a:gd name="T29" fmla="*/ 281 h 2400"/>
                <a:gd name="T30" fmla="*/ 1823 w 2405"/>
                <a:gd name="T31" fmla="*/ 227 h 2400"/>
                <a:gd name="T32" fmla="*/ 1761 w 2405"/>
                <a:gd name="T33" fmla="*/ 0 h 2400"/>
                <a:gd name="T34" fmla="*/ 1887 w 2405"/>
                <a:gd name="T35" fmla="*/ 20 h 2400"/>
                <a:gd name="T36" fmla="*/ 2002 w 2405"/>
                <a:gd name="T37" fmla="*/ 82 h 2400"/>
                <a:gd name="T38" fmla="*/ 2275 w 2405"/>
                <a:gd name="T39" fmla="*/ 345 h 2400"/>
                <a:gd name="T40" fmla="*/ 2359 w 2405"/>
                <a:gd name="T41" fmla="*/ 457 h 2400"/>
                <a:gd name="T42" fmla="*/ 2401 w 2405"/>
                <a:gd name="T43" fmla="*/ 578 h 2400"/>
                <a:gd name="T44" fmla="*/ 2401 w 2405"/>
                <a:gd name="T45" fmla="*/ 704 h 2400"/>
                <a:gd name="T46" fmla="*/ 2359 w 2405"/>
                <a:gd name="T47" fmla="*/ 825 h 2400"/>
                <a:gd name="T48" fmla="*/ 2275 w 2405"/>
                <a:gd name="T49" fmla="*/ 937 h 2400"/>
                <a:gd name="T50" fmla="*/ 820 w 2405"/>
                <a:gd name="T51" fmla="*/ 2386 h 2400"/>
                <a:gd name="T52" fmla="*/ 766 w 2405"/>
                <a:gd name="T53" fmla="*/ 2400 h 2400"/>
                <a:gd name="T54" fmla="*/ 76 w 2405"/>
                <a:gd name="T55" fmla="*/ 2394 h 2400"/>
                <a:gd name="T56" fmla="*/ 22 w 2405"/>
                <a:gd name="T57" fmla="*/ 2356 h 2400"/>
                <a:gd name="T58" fmla="*/ 0 w 2405"/>
                <a:gd name="T59" fmla="*/ 2290 h 2400"/>
                <a:gd name="T60" fmla="*/ 4 w 2405"/>
                <a:gd name="T61" fmla="*/ 1607 h 2400"/>
                <a:gd name="T62" fmla="*/ 32 w 2405"/>
                <a:gd name="T63" fmla="*/ 1559 h 2400"/>
                <a:gd name="T64" fmla="*/ 1518 w 2405"/>
                <a:gd name="T65" fmla="*/ 82 h 2400"/>
                <a:gd name="T66" fmla="*/ 1635 w 2405"/>
                <a:gd name="T67" fmla="*/ 20 h 2400"/>
                <a:gd name="T68" fmla="*/ 1761 w 2405"/>
                <a:gd name="T69" fmla="*/ 0 h 2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405" h="2400">
                  <a:moveTo>
                    <a:pt x="219" y="1680"/>
                  </a:moveTo>
                  <a:lnTo>
                    <a:pt x="219" y="2181"/>
                  </a:lnTo>
                  <a:lnTo>
                    <a:pt x="720" y="2181"/>
                  </a:lnTo>
                  <a:lnTo>
                    <a:pt x="219" y="1680"/>
                  </a:lnTo>
                  <a:close/>
                  <a:moveTo>
                    <a:pt x="1651" y="905"/>
                  </a:moveTo>
                  <a:lnTo>
                    <a:pt x="702" y="1854"/>
                  </a:lnTo>
                  <a:lnTo>
                    <a:pt x="876" y="2027"/>
                  </a:lnTo>
                  <a:lnTo>
                    <a:pt x="1825" y="1078"/>
                  </a:lnTo>
                  <a:lnTo>
                    <a:pt x="1651" y="905"/>
                  </a:lnTo>
                  <a:close/>
                  <a:moveTo>
                    <a:pt x="1322" y="576"/>
                  </a:moveTo>
                  <a:lnTo>
                    <a:pt x="373" y="1525"/>
                  </a:lnTo>
                  <a:lnTo>
                    <a:pt x="546" y="1698"/>
                  </a:lnTo>
                  <a:lnTo>
                    <a:pt x="1496" y="750"/>
                  </a:lnTo>
                  <a:lnTo>
                    <a:pt x="1322" y="576"/>
                  </a:lnTo>
                  <a:close/>
                  <a:moveTo>
                    <a:pt x="1781" y="217"/>
                  </a:moveTo>
                  <a:lnTo>
                    <a:pt x="1739" y="217"/>
                  </a:lnTo>
                  <a:lnTo>
                    <a:pt x="1697" y="227"/>
                  </a:lnTo>
                  <a:lnTo>
                    <a:pt x="1657" y="249"/>
                  </a:lnTo>
                  <a:lnTo>
                    <a:pt x="1619" y="281"/>
                  </a:lnTo>
                  <a:lnTo>
                    <a:pt x="1478" y="423"/>
                  </a:lnTo>
                  <a:lnTo>
                    <a:pt x="1978" y="923"/>
                  </a:lnTo>
                  <a:lnTo>
                    <a:pt x="2120" y="781"/>
                  </a:lnTo>
                  <a:lnTo>
                    <a:pt x="2152" y="744"/>
                  </a:lnTo>
                  <a:lnTo>
                    <a:pt x="2174" y="704"/>
                  </a:lnTo>
                  <a:lnTo>
                    <a:pt x="2186" y="662"/>
                  </a:lnTo>
                  <a:lnTo>
                    <a:pt x="2186" y="620"/>
                  </a:lnTo>
                  <a:lnTo>
                    <a:pt x="2174" y="578"/>
                  </a:lnTo>
                  <a:lnTo>
                    <a:pt x="2152" y="538"/>
                  </a:lnTo>
                  <a:lnTo>
                    <a:pt x="2120" y="500"/>
                  </a:lnTo>
                  <a:lnTo>
                    <a:pt x="1901" y="281"/>
                  </a:lnTo>
                  <a:lnTo>
                    <a:pt x="1863" y="249"/>
                  </a:lnTo>
                  <a:lnTo>
                    <a:pt x="1823" y="227"/>
                  </a:lnTo>
                  <a:lnTo>
                    <a:pt x="1781" y="217"/>
                  </a:lnTo>
                  <a:close/>
                  <a:moveTo>
                    <a:pt x="1761" y="0"/>
                  </a:moveTo>
                  <a:lnTo>
                    <a:pt x="1823" y="6"/>
                  </a:lnTo>
                  <a:lnTo>
                    <a:pt x="1887" y="20"/>
                  </a:lnTo>
                  <a:lnTo>
                    <a:pt x="1946" y="46"/>
                  </a:lnTo>
                  <a:lnTo>
                    <a:pt x="2002" y="82"/>
                  </a:lnTo>
                  <a:lnTo>
                    <a:pt x="2056" y="126"/>
                  </a:lnTo>
                  <a:lnTo>
                    <a:pt x="2275" y="345"/>
                  </a:lnTo>
                  <a:lnTo>
                    <a:pt x="2321" y="399"/>
                  </a:lnTo>
                  <a:lnTo>
                    <a:pt x="2359" y="457"/>
                  </a:lnTo>
                  <a:lnTo>
                    <a:pt x="2385" y="516"/>
                  </a:lnTo>
                  <a:lnTo>
                    <a:pt x="2401" y="578"/>
                  </a:lnTo>
                  <a:lnTo>
                    <a:pt x="2405" y="640"/>
                  </a:lnTo>
                  <a:lnTo>
                    <a:pt x="2401" y="704"/>
                  </a:lnTo>
                  <a:lnTo>
                    <a:pt x="2385" y="766"/>
                  </a:lnTo>
                  <a:lnTo>
                    <a:pt x="2359" y="825"/>
                  </a:lnTo>
                  <a:lnTo>
                    <a:pt x="2321" y="883"/>
                  </a:lnTo>
                  <a:lnTo>
                    <a:pt x="2275" y="937"/>
                  </a:lnTo>
                  <a:lnTo>
                    <a:pt x="842" y="2368"/>
                  </a:lnTo>
                  <a:lnTo>
                    <a:pt x="820" y="2386"/>
                  </a:lnTo>
                  <a:lnTo>
                    <a:pt x="794" y="2396"/>
                  </a:lnTo>
                  <a:lnTo>
                    <a:pt x="766" y="2400"/>
                  </a:lnTo>
                  <a:lnTo>
                    <a:pt x="110" y="2400"/>
                  </a:lnTo>
                  <a:lnTo>
                    <a:pt x="76" y="2394"/>
                  </a:lnTo>
                  <a:lnTo>
                    <a:pt x="44" y="2378"/>
                  </a:lnTo>
                  <a:lnTo>
                    <a:pt x="22" y="2356"/>
                  </a:lnTo>
                  <a:lnTo>
                    <a:pt x="6" y="2324"/>
                  </a:lnTo>
                  <a:lnTo>
                    <a:pt x="0" y="2290"/>
                  </a:lnTo>
                  <a:lnTo>
                    <a:pt x="0" y="1635"/>
                  </a:lnTo>
                  <a:lnTo>
                    <a:pt x="4" y="1607"/>
                  </a:lnTo>
                  <a:lnTo>
                    <a:pt x="14" y="1581"/>
                  </a:lnTo>
                  <a:lnTo>
                    <a:pt x="32" y="1559"/>
                  </a:lnTo>
                  <a:lnTo>
                    <a:pt x="1464" y="126"/>
                  </a:lnTo>
                  <a:lnTo>
                    <a:pt x="1518" y="82"/>
                  </a:lnTo>
                  <a:lnTo>
                    <a:pt x="1573" y="46"/>
                  </a:lnTo>
                  <a:lnTo>
                    <a:pt x="1635" y="20"/>
                  </a:lnTo>
                  <a:lnTo>
                    <a:pt x="1697" y="6"/>
                  </a:lnTo>
                  <a:lnTo>
                    <a:pt x="1761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17"/>
            <p:cNvSpPr>
              <a:spLocks/>
            </p:cNvSpPr>
            <p:nvPr/>
          </p:nvSpPr>
          <p:spPr bwMode="auto">
            <a:xfrm>
              <a:off x="1586" y="519"/>
              <a:ext cx="2623" cy="3278"/>
            </a:xfrm>
            <a:custGeom>
              <a:avLst/>
              <a:gdLst>
                <a:gd name="T0" fmla="*/ 4044 w 5247"/>
                <a:gd name="T1" fmla="*/ 0 h 6556"/>
                <a:gd name="T2" fmla="*/ 4100 w 5247"/>
                <a:gd name="T3" fmla="*/ 16 h 6556"/>
                <a:gd name="T4" fmla="*/ 5215 w 5247"/>
                <a:gd name="T5" fmla="*/ 1124 h 6556"/>
                <a:gd name="T6" fmla="*/ 5245 w 5247"/>
                <a:gd name="T7" fmla="*/ 1174 h 6556"/>
                <a:gd name="T8" fmla="*/ 5245 w 5247"/>
                <a:gd name="T9" fmla="*/ 1230 h 6556"/>
                <a:gd name="T10" fmla="*/ 5215 w 5247"/>
                <a:gd name="T11" fmla="*/ 1280 h 6556"/>
                <a:gd name="T12" fmla="*/ 5167 w 5247"/>
                <a:gd name="T13" fmla="*/ 1308 h 6556"/>
                <a:gd name="T14" fmla="*/ 5111 w 5247"/>
                <a:gd name="T15" fmla="*/ 1308 h 6556"/>
                <a:gd name="T16" fmla="*/ 5061 w 5247"/>
                <a:gd name="T17" fmla="*/ 1280 h 6556"/>
                <a:gd name="T18" fmla="*/ 546 w 5247"/>
                <a:gd name="T19" fmla="*/ 219 h 6556"/>
                <a:gd name="T20" fmla="*/ 433 w 5247"/>
                <a:gd name="T21" fmla="*/ 239 h 6556"/>
                <a:gd name="T22" fmla="*/ 337 w 5247"/>
                <a:gd name="T23" fmla="*/ 297 h 6556"/>
                <a:gd name="T24" fmla="*/ 265 w 5247"/>
                <a:gd name="T25" fmla="*/ 381 h 6556"/>
                <a:gd name="T26" fmla="*/ 225 w 5247"/>
                <a:gd name="T27" fmla="*/ 488 h 6556"/>
                <a:gd name="T28" fmla="*/ 219 w 5247"/>
                <a:gd name="T29" fmla="*/ 6010 h 6556"/>
                <a:gd name="T30" fmla="*/ 239 w 5247"/>
                <a:gd name="T31" fmla="*/ 6123 h 6556"/>
                <a:gd name="T32" fmla="*/ 297 w 5247"/>
                <a:gd name="T33" fmla="*/ 6221 h 6556"/>
                <a:gd name="T34" fmla="*/ 383 w 5247"/>
                <a:gd name="T35" fmla="*/ 6293 h 6556"/>
                <a:gd name="T36" fmla="*/ 489 w 5247"/>
                <a:gd name="T37" fmla="*/ 6333 h 6556"/>
                <a:gd name="T38" fmla="*/ 3390 w 5247"/>
                <a:gd name="T39" fmla="*/ 6337 h 6556"/>
                <a:gd name="T40" fmla="*/ 3454 w 5247"/>
                <a:gd name="T41" fmla="*/ 6359 h 6556"/>
                <a:gd name="T42" fmla="*/ 3494 w 5247"/>
                <a:gd name="T43" fmla="*/ 6413 h 6556"/>
                <a:gd name="T44" fmla="*/ 3494 w 5247"/>
                <a:gd name="T45" fmla="*/ 6480 h 6556"/>
                <a:gd name="T46" fmla="*/ 3454 w 5247"/>
                <a:gd name="T47" fmla="*/ 6534 h 6556"/>
                <a:gd name="T48" fmla="*/ 3390 w 5247"/>
                <a:gd name="T49" fmla="*/ 6556 h 6556"/>
                <a:gd name="T50" fmla="*/ 467 w 5247"/>
                <a:gd name="T51" fmla="*/ 6550 h 6556"/>
                <a:gd name="T52" fmla="*/ 317 w 5247"/>
                <a:gd name="T53" fmla="*/ 6504 h 6556"/>
                <a:gd name="T54" fmla="*/ 189 w 5247"/>
                <a:gd name="T55" fmla="*/ 6422 h 6556"/>
                <a:gd name="T56" fmla="*/ 90 w 5247"/>
                <a:gd name="T57" fmla="*/ 6307 h 6556"/>
                <a:gd name="T58" fmla="*/ 24 w 5247"/>
                <a:gd name="T59" fmla="*/ 6167 h 6556"/>
                <a:gd name="T60" fmla="*/ 0 w 5247"/>
                <a:gd name="T61" fmla="*/ 6010 h 6556"/>
                <a:gd name="T62" fmla="*/ 6 w 5247"/>
                <a:gd name="T63" fmla="*/ 466 h 6556"/>
                <a:gd name="T64" fmla="*/ 52 w 5247"/>
                <a:gd name="T65" fmla="*/ 317 h 6556"/>
                <a:gd name="T66" fmla="*/ 136 w 5247"/>
                <a:gd name="T67" fmla="*/ 189 h 6556"/>
                <a:gd name="T68" fmla="*/ 249 w 5247"/>
                <a:gd name="T69" fmla="*/ 88 h 6556"/>
                <a:gd name="T70" fmla="*/ 389 w 5247"/>
                <a:gd name="T71" fmla="*/ 24 h 6556"/>
                <a:gd name="T72" fmla="*/ 546 w 5247"/>
                <a:gd name="T73" fmla="*/ 0 h 6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247" h="6556">
                  <a:moveTo>
                    <a:pt x="546" y="0"/>
                  </a:moveTo>
                  <a:lnTo>
                    <a:pt x="4044" y="0"/>
                  </a:lnTo>
                  <a:lnTo>
                    <a:pt x="4074" y="4"/>
                  </a:lnTo>
                  <a:lnTo>
                    <a:pt x="4100" y="16"/>
                  </a:lnTo>
                  <a:lnTo>
                    <a:pt x="4122" y="32"/>
                  </a:lnTo>
                  <a:lnTo>
                    <a:pt x="5215" y="1124"/>
                  </a:lnTo>
                  <a:lnTo>
                    <a:pt x="5233" y="1148"/>
                  </a:lnTo>
                  <a:lnTo>
                    <a:pt x="5245" y="1174"/>
                  </a:lnTo>
                  <a:lnTo>
                    <a:pt x="5247" y="1202"/>
                  </a:lnTo>
                  <a:lnTo>
                    <a:pt x="5245" y="1230"/>
                  </a:lnTo>
                  <a:lnTo>
                    <a:pt x="5233" y="1256"/>
                  </a:lnTo>
                  <a:lnTo>
                    <a:pt x="5215" y="1280"/>
                  </a:lnTo>
                  <a:lnTo>
                    <a:pt x="5193" y="1298"/>
                  </a:lnTo>
                  <a:lnTo>
                    <a:pt x="5167" y="1308"/>
                  </a:lnTo>
                  <a:lnTo>
                    <a:pt x="5139" y="1312"/>
                  </a:lnTo>
                  <a:lnTo>
                    <a:pt x="5111" y="1308"/>
                  </a:lnTo>
                  <a:lnTo>
                    <a:pt x="5085" y="1298"/>
                  </a:lnTo>
                  <a:lnTo>
                    <a:pt x="5061" y="1280"/>
                  </a:lnTo>
                  <a:lnTo>
                    <a:pt x="4000" y="219"/>
                  </a:lnTo>
                  <a:lnTo>
                    <a:pt x="546" y="219"/>
                  </a:lnTo>
                  <a:lnTo>
                    <a:pt x="489" y="223"/>
                  </a:lnTo>
                  <a:lnTo>
                    <a:pt x="433" y="239"/>
                  </a:lnTo>
                  <a:lnTo>
                    <a:pt x="383" y="263"/>
                  </a:lnTo>
                  <a:lnTo>
                    <a:pt x="337" y="297"/>
                  </a:lnTo>
                  <a:lnTo>
                    <a:pt x="297" y="335"/>
                  </a:lnTo>
                  <a:lnTo>
                    <a:pt x="265" y="381"/>
                  </a:lnTo>
                  <a:lnTo>
                    <a:pt x="239" y="433"/>
                  </a:lnTo>
                  <a:lnTo>
                    <a:pt x="225" y="488"/>
                  </a:lnTo>
                  <a:lnTo>
                    <a:pt x="219" y="546"/>
                  </a:lnTo>
                  <a:lnTo>
                    <a:pt x="219" y="6010"/>
                  </a:lnTo>
                  <a:lnTo>
                    <a:pt x="225" y="6068"/>
                  </a:lnTo>
                  <a:lnTo>
                    <a:pt x="239" y="6123"/>
                  </a:lnTo>
                  <a:lnTo>
                    <a:pt x="265" y="6175"/>
                  </a:lnTo>
                  <a:lnTo>
                    <a:pt x="297" y="6221"/>
                  </a:lnTo>
                  <a:lnTo>
                    <a:pt x="337" y="6261"/>
                  </a:lnTo>
                  <a:lnTo>
                    <a:pt x="383" y="6293"/>
                  </a:lnTo>
                  <a:lnTo>
                    <a:pt x="433" y="6317"/>
                  </a:lnTo>
                  <a:lnTo>
                    <a:pt x="489" y="6333"/>
                  </a:lnTo>
                  <a:lnTo>
                    <a:pt x="546" y="6337"/>
                  </a:lnTo>
                  <a:lnTo>
                    <a:pt x="3390" y="6337"/>
                  </a:lnTo>
                  <a:lnTo>
                    <a:pt x="3424" y="6343"/>
                  </a:lnTo>
                  <a:lnTo>
                    <a:pt x="3454" y="6359"/>
                  </a:lnTo>
                  <a:lnTo>
                    <a:pt x="3478" y="6383"/>
                  </a:lnTo>
                  <a:lnTo>
                    <a:pt x="3494" y="6413"/>
                  </a:lnTo>
                  <a:lnTo>
                    <a:pt x="3498" y="6446"/>
                  </a:lnTo>
                  <a:lnTo>
                    <a:pt x="3494" y="6480"/>
                  </a:lnTo>
                  <a:lnTo>
                    <a:pt x="3478" y="6512"/>
                  </a:lnTo>
                  <a:lnTo>
                    <a:pt x="3454" y="6534"/>
                  </a:lnTo>
                  <a:lnTo>
                    <a:pt x="3424" y="6550"/>
                  </a:lnTo>
                  <a:lnTo>
                    <a:pt x="3390" y="6556"/>
                  </a:lnTo>
                  <a:lnTo>
                    <a:pt x="546" y="6556"/>
                  </a:lnTo>
                  <a:lnTo>
                    <a:pt x="467" y="6550"/>
                  </a:lnTo>
                  <a:lnTo>
                    <a:pt x="389" y="6532"/>
                  </a:lnTo>
                  <a:lnTo>
                    <a:pt x="317" y="6504"/>
                  </a:lnTo>
                  <a:lnTo>
                    <a:pt x="249" y="6468"/>
                  </a:lnTo>
                  <a:lnTo>
                    <a:pt x="189" y="6422"/>
                  </a:lnTo>
                  <a:lnTo>
                    <a:pt x="136" y="6369"/>
                  </a:lnTo>
                  <a:lnTo>
                    <a:pt x="90" y="6307"/>
                  </a:lnTo>
                  <a:lnTo>
                    <a:pt x="52" y="6239"/>
                  </a:lnTo>
                  <a:lnTo>
                    <a:pt x="24" y="6167"/>
                  </a:lnTo>
                  <a:lnTo>
                    <a:pt x="6" y="6090"/>
                  </a:lnTo>
                  <a:lnTo>
                    <a:pt x="0" y="6010"/>
                  </a:lnTo>
                  <a:lnTo>
                    <a:pt x="0" y="546"/>
                  </a:lnTo>
                  <a:lnTo>
                    <a:pt x="6" y="466"/>
                  </a:lnTo>
                  <a:lnTo>
                    <a:pt x="24" y="389"/>
                  </a:lnTo>
                  <a:lnTo>
                    <a:pt x="52" y="317"/>
                  </a:lnTo>
                  <a:lnTo>
                    <a:pt x="90" y="249"/>
                  </a:lnTo>
                  <a:lnTo>
                    <a:pt x="136" y="189"/>
                  </a:lnTo>
                  <a:lnTo>
                    <a:pt x="189" y="136"/>
                  </a:lnTo>
                  <a:lnTo>
                    <a:pt x="249" y="88"/>
                  </a:lnTo>
                  <a:lnTo>
                    <a:pt x="317" y="52"/>
                  </a:lnTo>
                  <a:lnTo>
                    <a:pt x="389" y="24"/>
                  </a:lnTo>
                  <a:lnTo>
                    <a:pt x="467" y="6"/>
                  </a:lnTo>
                  <a:lnTo>
                    <a:pt x="546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18"/>
            <p:cNvSpPr>
              <a:spLocks/>
            </p:cNvSpPr>
            <p:nvPr/>
          </p:nvSpPr>
          <p:spPr bwMode="auto">
            <a:xfrm>
              <a:off x="2788" y="3141"/>
              <a:ext cx="547" cy="110"/>
            </a:xfrm>
            <a:custGeom>
              <a:avLst/>
              <a:gdLst>
                <a:gd name="T0" fmla="*/ 110 w 1093"/>
                <a:gd name="T1" fmla="*/ 0 h 220"/>
                <a:gd name="T2" fmla="*/ 985 w 1093"/>
                <a:gd name="T3" fmla="*/ 0 h 220"/>
                <a:gd name="T4" fmla="*/ 1019 w 1093"/>
                <a:gd name="T5" fmla="*/ 6 h 220"/>
                <a:gd name="T6" fmla="*/ 1049 w 1093"/>
                <a:gd name="T7" fmla="*/ 22 h 220"/>
                <a:gd name="T8" fmla="*/ 1073 w 1093"/>
                <a:gd name="T9" fmla="*/ 46 h 220"/>
                <a:gd name="T10" fmla="*/ 1089 w 1093"/>
                <a:gd name="T11" fmla="*/ 76 h 220"/>
                <a:gd name="T12" fmla="*/ 1093 w 1093"/>
                <a:gd name="T13" fmla="*/ 110 h 220"/>
                <a:gd name="T14" fmla="*/ 1089 w 1093"/>
                <a:gd name="T15" fmla="*/ 144 h 220"/>
                <a:gd name="T16" fmla="*/ 1073 w 1093"/>
                <a:gd name="T17" fmla="*/ 174 h 220"/>
                <a:gd name="T18" fmla="*/ 1049 w 1093"/>
                <a:gd name="T19" fmla="*/ 198 h 220"/>
                <a:gd name="T20" fmla="*/ 1019 w 1093"/>
                <a:gd name="T21" fmla="*/ 214 h 220"/>
                <a:gd name="T22" fmla="*/ 985 w 1093"/>
                <a:gd name="T23" fmla="*/ 220 h 220"/>
                <a:gd name="T24" fmla="*/ 110 w 1093"/>
                <a:gd name="T25" fmla="*/ 220 h 220"/>
                <a:gd name="T26" fmla="*/ 76 w 1093"/>
                <a:gd name="T27" fmla="*/ 214 h 220"/>
                <a:gd name="T28" fmla="*/ 46 w 1093"/>
                <a:gd name="T29" fmla="*/ 198 h 220"/>
                <a:gd name="T30" fmla="*/ 22 w 1093"/>
                <a:gd name="T31" fmla="*/ 174 h 220"/>
                <a:gd name="T32" fmla="*/ 6 w 1093"/>
                <a:gd name="T33" fmla="*/ 144 h 220"/>
                <a:gd name="T34" fmla="*/ 0 w 1093"/>
                <a:gd name="T35" fmla="*/ 110 h 220"/>
                <a:gd name="T36" fmla="*/ 6 w 1093"/>
                <a:gd name="T37" fmla="*/ 76 h 220"/>
                <a:gd name="T38" fmla="*/ 22 w 1093"/>
                <a:gd name="T39" fmla="*/ 46 h 220"/>
                <a:gd name="T40" fmla="*/ 46 w 1093"/>
                <a:gd name="T41" fmla="*/ 22 h 220"/>
                <a:gd name="T42" fmla="*/ 76 w 1093"/>
                <a:gd name="T43" fmla="*/ 6 h 220"/>
                <a:gd name="T44" fmla="*/ 110 w 1093"/>
                <a:gd name="T45" fmla="*/ 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93" h="220">
                  <a:moveTo>
                    <a:pt x="110" y="0"/>
                  </a:moveTo>
                  <a:lnTo>
                    <a:pt x="985" y="0"/>
                  </a:lnTo>
                  <a:lnTo>
                    <a:pt x="1019" y="6"/>
                  </a:lnTo>
                  <a:lnTo>
                    <a:pt x="1049" y="22"/>
                  </a:lnTo>
                  <a:lnTo>
                    <a:pt x="1073" y="46"/>
                  </a:lnTo>
                  <a:lnTo>
                    <a:pt x="1089" y="76"/>
                  </a:lnTo>
                  <a:lnTo>
                    <a:pt x="1093" y="110"/>
                  </a:lnTo>
                  <a:lnTo>
                    <a:pt x="1089" y="144"/>
                  </a:lnTo>
                  <a:lnTo>
                    <a:pt x="1073" y="174"/>
                  </a:lnTo>
                  <a:lnTo>
                    <a:pt x="1049" y="198"/>
                  </a:lnTo>
                  <a:lnTo>
                    <a:pt x="1019" y="214"/>
                  </a:lnTo>
                  <a:lnTo>
                    <a:pt x="985" y="220"/>
                  </a:lnTo>
                  <a:lnTo>
                    <a:pt x="110" y="220"/>
                  </a:lnTo>
                  <a:lnTo>
                    <a:pt x="76" y="214"/>
                  </a:lnTo>
                  <a:lnTo>
                    <a:pt x="46" y="198"/>
                  </a:lnTo>
                  <a:lnTo>
                    <a:pt x="22" y="174"/>
                  </a:lnTo>
                  <a:lnTo>
                    <a:pt x="6" y="144"/>
                  </a:lnTo>
                  <a:lnTo>
                    <a:pt x="0" y="110"/>
                  </a:lnTo>
                  <a:lnTo>
                    <a:pt x="6" y="76"/>
                  </a:lnTo>
                  <a:lnTo>
                    <a:pt x="22" y="46"/>
                  </a:lnTo>
                  <a:lnTo>
                    <a:pt x="46" y="22"/>
                  </a:lnTo>
                  <a:lnTo>
                    <a:pt x="76" y="6"/>
                  </a:lnTo>
                  <a:lnTo>
                    <a:pt x="110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19"/>
            <p:cNvSpPr>
              <a:spLocks noEditPoints="1"/>
            </p:cNvSpPr>
            <p:nvPr/>
          </p:nvSpPr>
          <p:spPr bwMode="auto">
            <a:xfrm>
              <a:off x="2133" y="1503"/>
              <a:ext cx="437" cy="436"/>
            </a:xfrm>
            <a:custGeom>
              <a:avLst/>
              <a:gdLst>
                <a:gd name="T0" fmla="*/ 217 w 873"/>
                <a:gd name="T1" fmla="*/ 218 h 873"/>
                <a:gd name="T2" fmla="*/ 217 w 873"/>
                <a:gd name="T3" fmla="*/ 656 h 873"/>
                <a:gd name="T4" fmla="*/ 654 w 873"/>
                <a:gd name="T5" fmla="*/ 656 h 873"/>
                <a:gd name="T6" fmla="*/ 654 w 873"/>
                <a:gd name="T7" fmla="*/ 218 h 873"/>
                <a:gd name="T8" fmla="*/ 217 w 873"/>
                <a:gd name="T9" fmla="*/ 218 h 873"/>
                <a:gd name="T10" fmla="*/ 107 w 873"/>
                <a:gd name="T11" fmla="*/ 0 h 873"/>
                <a:gd name="T12" fmla="*/ 764 w 873"/>
                <a:gd name="T13" fmla="*/ 0 h 873"/>
                <a:gd name="T14" fmla="*/ 799 w 873"/>
                <a:gd name="T15" fmla="*/ 6 h 873"/>
                <a:gd name="T16" fmla="*/ 829 w 873"/>
                <a:gd name="T17" fmla="*/ 20 h 873"/>
                <a:gd name="T18" fmla="*/ 851 w 873"/>
                <a:gd name="T19" fmla="*/ 44 h 873"/>
                <a:gd name="T20" fmla="*/ 867 w 873"/>
                <a:gd name="T21" fmla="*/ 74 h 873"/>
                <a:gd name="T22" fmla="*/ 873 w 873"/>
                <a:gd name="T23" fmla="*/ 110 h 873"/>
                <a:gd name="T24" fmla="*/ 873 w 873"/>
                <a:gd name="T25" fmla="*/ 766 h 873"/>
                <a:gd name="T26" fmla="*/ 867 w 873"/>
                <a:gd name="T27" fmla="*/ 800 h 873"/>
                <a:gd name="T28" fmla="*/ 851 w 873"/>
                <a:gd name="T29" fmla="*/ 830 h 873"/>
                <a:gd name="T30" fmla="*/ 829 w 873"/>
                <a:gd name="T31" fmla="*/ 854 h 873"/>
                <a:gd name="T32" fmla="*/ 799 w 873"/>
                <a:gd name="T33" fmla="*/ 869 h 873"/>
                <a:gd name="T34" fmla="*/ 764 w 873"/>
                <a:gd name="T35" fmla="*/ 873 h 873"/>
                <a:gd name="T36" fmla="*/ 107 w 873"/>
                <a:gd name="T37" fmla="*/ 873 h 873"/>
                <a:gd name="T38" fmla="*/ 74 w 873"/>
                <a:gd name="T39" fmla="*/ 869 h 873"/>
                <a:gd name="T40" fmla="*/ 44 w 873"/>
                <a:gd name="T41" fmla="*/ 854 h 873"/>
                <a:gd name="T42" fmla="*/ 20 w 873"/>
                <a:gd name="T43" fmla="*/ 830 h 873"/>
                <a:gd name="T44" fmla="*/ 4 w 873"/>
                <a:gd name="T45" fmla="*/ 800 h 873"/>
                <a:gd name="T46" fmla="*/ 0 w 873"/>
                <a:gd name="T47" fmla="*/ 766 h 873"/>
                <a:gd name="T48" fmla="*/ 0 w 873"/>
                <a:gd name="T49" fmla="*/ 110 h 873"/>
                <a:gd name="T50" fmla="*/ 4 w 873"/>
                <a:gd name="T51" fmla="*/ 74 h 873"/>
                <a:gd name="T52" fmla="*/ 20 w 873"/>
                <a:gd name="T53" fmla="*/ 44 h 873"/>
                <a:gd name="T54" fmla="*/ 44 w 873"/>
                <a:gd name="T55" fmla="*/ 20 h 873"/>
                <a:gd name="T56" fmla="*/ 74 w 873"/>
                <a:gd name="T57" fmla="*/ 6 h 873"/>
                <a:gd name="T58" fmla="*/ 107 w 873"/>
                <a:gd name="T59" fmla="*/ 0 h 8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873" h="873">
                  <a:moveTo>
                    <a:pt x="217" y="218"/>
                  </a:moveTo>
                  <a:lnTo>
                    <a:pt x="217" y="656"/>
                  </a:lnTo>
                  <a:lnTo>
                    <a:pt x="654" y="656"/>
                  </a:lnTo>
                  <a:lnTo>
                    <a:pt x="654" y="218"/>
                  </a:lnTo>
                  <a:lnTo>
                    <a:pt x="217" y="218"/>
                  </a:lnTo>
                  <a:close/>
                  <a:moveTo>
                    <a:pt x="107" y="0"/>
                  </a:moveTo>
                  <a:lnTo>
                    <a:pt x="764" y="0"/>
                  </a:lnTo>
                  <a:lnTo>
                    <a:pt x="799" y="6"/>
                  </a:lnTo>
                  <a:lnTo>
                    <a:pt x="829" y="20"/>
                  </a:lnTo>
                  <a:lnTo>
                    <a:pt x="851" y="44"/>
                  </a:lnTo>
                  <a:lnTo>
                    <a:pt x="867" y="74"/>
                  </a:lnTo>
                  <a:lnTo>
                    <a:pt x="873" y="110"/>
                  </a:lnTo>
                  <a:lnTo>
                    <a:pt x="873" y="766"/>
                  </a:lnTo>
                  <a:lnTo>
                    <a:pt x="867" y="800"/>
                  </a:lnTo>
                  <a:lnTo>
                    <a:pt x="851" y="830"/>
                  </a:lnTo>
                  <a:lnTo>
                    <a:pt x="829" y="854"/>
                  </a:lnTo>
                  <a:lnTo>
                    <a:pt x="799" y="869"/>
                  </a:lnTo>
                  <a:lnTo>
                    <a:pt x="764" y="873"/>
                  </a:lnTo>
                  <a:lnTo>
                    <a:pt x="107" y="873"/>
                  </a:lnTo>
                  <a:lnTo>
                    <a:pt x="74" y="869"/>
                  </a:lnTo>
                  <a:lnTo>
                    <a:pt x="44" y="854"/>
                  </a:lnTo>
                  <a:lnTo>
                    <a:pt x="20" y="830"/>
                  </a:lnTo>
                  <a:lnTo>
                    <a:pt x="4" y="800"/>
                  </a:lnTo>
                  <a:lnTo>
                    <a:pt x="0" y="766"/>
                  </a:lnTo>
                  <a:lnTo>
                    <a:pt x="0" y="110"/>
                  </a:lnTo>
                  <a:lnTo>
                    <a:pt x="4" y="74"/>
                  </a:lnTo>
                  <a:lnTo>
                    <a:pt x="20" y="44"/>
                  </a:lnTo>
                  <a:lnTo>
                    <a:pt x="44" y="20"/>
                  </a:lnTo>
                  <a:lnTo>
                    <a:pt x="74" y="6"/>
                  </a:lnTo>
                  <a:lnTo>
                    <a:pt x="107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20"/>
            <p:cNvSpPr>
              <a:spLocks noEditPoints="1"/>
            </p:cNvSpPr>
            <p:nvPr/>
          </p:nvSpPr>
          <p:spPr bwMode="auto">
            <a:xfrm>
              <a:off x="2133" y="2813"/>
              <a:ext cx="437" cy="438"/>
            </a:xfrm>
            <a:custGeom>
              <a:avLst/>
              <a:gdLst>
                <a:gd name="T0" fmla="*/ 217 w 873"/>
                <a:gd name="T1" fmla="*/ 219 h 875"/>
                <a:gd name="T2" fmla="*/ 217 w 873"/>
                <a:gd name="T3" fmla="*/ 655 h 875"/>
                <a:gd name="T4" fmla="*/ 654 w 873"/>
                <a:gd name="T5" fmla="*/ 655 h 875"/>
                <a:gd name="T6" fmla="*/ 654 w 873"/>
                <a:gd name="T7" fmla="*/ 219 h 875"/>
                <a:gd name="T8" fmla="*/ 217 w 873"/>
                <a:gd name="T9" fmla="*/ 219 h 875"/>
                <a:gd name="T10" fmla="*/ 107 w 873"/>
                <a:gd name="T11" fmla="*/ 0 h 875"/>
                <a:gd name="T12" fmla="*/ 764 w 873"/>
                <a:gd name="T13" fmla="*/ 0 h 875"/>
                <a:gd name="T14" fmla="*/ 799 w 873"/>
                <a:gd name="T15" fmla="*/ 6 h 875"/>
                <a:gd name="T16" fmla="*/ 829 w 873"/>
                <a:gd name="T17" fmla="*/ 22 h 875"/>
                <a:gd name="T18" fmla="*/ 851 w 873"/>
                <a:gd name="T19" fmla="*/ 45 h 875"/>
                <a:gd name="T20" fmla="*/ 867 w 873"/>
                <a:gd name="T21" fmla="*/ 75 h 875"/>
                <a:gd name="T22" fmla="*/ 873 w 873"/>
                <a:gd name="T23" fmla="*/ 109 h 875"/>
                <a:gd name="T24" fmla="*/ 873 w 873"/>
                <a:gd name="T25" fmla="*/ 765 h 875"/>
                <a:gd name="T26" fmla="*/ 867 w 873"/>
                <a:gd name="T27" fmla="*/ 799 h 875"/>
                <a:gd name="T28" fmla="*/ 851 w 873"/>
                <a:gd name="T29" fmla="*/ 829 h 875"/>
                <a:gd name="T30" fmla="*/ 829 w 873"/>
                <a:gd name="T31" fmla="*/ 853 h 875"/>
                <a:gd name="T32" fmla="*/ 799 w 873"/>
                <a:gd name="T33" fmla="*/ 869 h 875"/>
                <a:gd name="T34" fmla="*/ 764 w 873"/>
                <a:gd name="T35" fmla="*/ 875 h 875"/>
                <a:gd name="T36" fmla="*/ 107 w 873"/>
                <a:gd name="T37" fmla="*/ 875 h 875"/>
                <a:gd name="T38" fmla="*/ 74 w 873"/>
                <a:gd name="T39" fmla="*/ 869 h 875"/>
                <a:gd name="T40" fmla="*/ 44 w 873"/>
                <a:gd name="T41" fmla="*/ 853 h 875"/>
                <a:gd name="T42" fmla="*/ 20 w 873"/>
                <a:gd name="T43" fmla="*/ 829 h 875"/>
                <a:gd name="T44" fmla="*/ 4 w 873"/>
                <a:gd name="T45" fmla="*/ 799 h 875"/>
                <a:gd name="T46" fmla="*/ 0 w 873"/>
                <a:gd name="T47" fmla="*/ 765 h 875"/>
                <a:gd name="T48" fmla="*/ 0 w 873"/>
                <a:gd name="T49" fmla="*/ 109 h 875"/>
                <a:gd name="T50" fmla="*/ 4 w 873"/>
                <a:gd name="T51" fmla="*/ 75 h 875"/>
                <a:gd name="T52" fmla="*/ 20 w 873"/>
                <a:gd name="T53" fmla="*/ 45 h 875"/>
                <a:gd name="T54" fmla="*/ 44 w 873"/>
                <a:gd name="T55" fmla="*/ 22 h 875"/>
                <a:gd name="T56" fmla="*/ 74 w 873"/>
                <a:gd name="T57" fmla="*/ 6 h 875"/>
                <a:gd name="T58" fmla="*/ 107 w 873"/>
                <a:gd name="T59" fmla="*/ 0 h 8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873" h="875">
                  <a:moveTo>
                    <a:pt x="217" y="219"/>
                  </a:moveTo>
                  <a:lnTo>
                    <a:pt x="217" y="655"/>
                  </a:lnTo>
                  <a:lnTo>
                    <a:pt x="654" y="655"/>
                  </a:lnTo>
                  <a:lnTo>
                    <a:pt x="654" y="219"/>
                  </a:lnTo>
                  <a:lnTo>
                    <a:pt x="217" y="219"/>
                  </a:lnTo>
                  <a:close/>
                  <a:moveTo>
                    <a:pt x="107" y="0"/>
                  </a:moveTo>
                  <a:lnTo>
                    <a:pt x="764" y="0"/>
                  </a:lnTo>
                  <a:lnTo>
                    <a:pt x="799" y="6"/>
                  </a:lnTo>
                  <a:lnTo>
                    <a:pt x="829" y="22"/>
                  </a:lnTo>
                  <a:lnTo>
                    <a:pt x="851" y="45"/>
                  </a:lnTo>
                  <a:lnTo>
                    <a:pt x="867" y="75"/>
                  </a:lnTo>
                  <a:lnTo>
                    <a:pt x="873" y="109"/>
                  </a:lnTo>
                  <a:lnTo>
                    <a:pt x="873" y="765"/>
                  </a:lnTo>
                  <a:lnTo>
                    <a:pt x="867" y="799"/>
                  </a:lnTo>
                  <a:lnTo>
                    <a:pt x="851" y="829"/>
                  </a:lnTo>
                  <a:lnTo>
                    <a:pt x="829" y="853"/>
                  </a:lnTo>
                  <a:lnTo>
                    <a:pt x="799" y="869"/>
                  </a:lnTo>
                  <a:lnTo>
                    <a:pt x="764" y="875"/>
                  </a:lnTo>
                  <a:lnTo>
                    <a:pt x="107" y="875"/>
                  </a:lnTo>
                  <a:lnTo>
                    <a:pt x="74" y="869"/>
                  </a:lnTo>
                  <a:lnTo>
                    <a:pt x="44" y="853"/>
                  </a:lnTo>
                  <a:lnTo>
                    <a:pt x="20" y="829"/>
                  </a:lnTo>
                  <a:lnTo>
                    <a:pt x="4" y="799"/>
                  </a:lnTo>
                  <a:lnTo>
                    <a:pt x="0" y="765"/>
                  </a:lnTo>
                  <a:lnTo>
                    <a:pt x="0" y="109"/>
                  </a:lnTo>
                  <a:lnTo>
                    <a:pt x="4" y="75"/>
                  </a:lnTo>
                  <a:lnTo>
                    <a:pt x="20" y="45"/>
                  </a:lnTo>
                  <a:lnTo>
                    <a:pt x="44" y="22"/>
                  </a:lnTo>
                  <a:lnTo>
                    <a:pt x="74" y="6"/>
                  </a:lnTo>
                  <a:lnTo>
                    <a:pt x="107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21"/>
            <p:cNvSpPr>
              <a:spLocks/>
            </p:cNvSpPr>
            <p:nvPr/>
          </p:nvSpPr>
          <p:spPr bwMode="auto">
            <a:xfrm>
              <a:off x="2133" y="2159"/>
              <a:ext cx="437" cy="436"/>
            </a:xfrm>
            <a:custGeom>
              <a:avLst/>
              <a:gdLst>
                <a:gd name="T0" fmla="*/ 770 w 873"/>
                <a:gd name="T1" fmla="*/ 0 h 873"/>
                <a:gd name="T2" fmla="*/ 797 w 873"/>
                <a:gd name="T3" fmla="*/ 4 h 873"/>
                <a:gd name="T4" fmla="*/ 825 w 873"/>
                <a:gd name="T5" fmla="*/ 18 h 873"/>
                <a:gd name="T6" fmla="*/ 847 w 873"/>
                <a:gd name="T7" fmla="*/ 36 h 873"/>
                <a:gd name="T8" fmla="*/ 861 w 873"/>
                <a:gd name="T9" fmla="*/ 60 h 873"/>
                <a:gd name="T10" fmla="*/ 871 w 873"/>
                <a:gd name="T11" fmla="*/ 88 h 873"/>
                <a:gd name="T12" fmla="*/ 873 w 873"/>
                <a:gd name="T13" fmla="*/ 116 h 873"/>
                <a:gd name="T14" fmla="*/ 867 w 873"/>
                <a:gd name="T15" fmla="*/ 144 h 873"/>
                <a:gd name="T16" fmla="*/ 855 w 873"/>
                <a:gd name="T17" fmla="*/ 169 h 873"/>
                <a:gd name="T18" fmla="*/ 419 w 873"/>
                <a:gd name="T19" fmla="*/ 825 h 873"/>
                <a:gd name="T20" fmla="*/ 397 w 873"/>
                <a:gd name="T21" fmla="*/ 849 h 873"/>
                <a:gd name="T22" fmla="*/ 369 w 873"/>
                <a:gd name="T23" fmla="*/ 865 h 873"/>
                <a:gd name="T24" fmla="*/ 337 w 873"/>
                <a:gd name="T25" fmla="*/ 873 h 873"/>
                <a:gd name="T26" fmla="*/ 327 w 873"/>
                <a:gd name="T27" fmla="*/ 873 h 873"/>
                <a:gd name="T28" fmla="*/ 299 w 873"/>
                <a:gd name="T29" fmla="*/ 869 h 873"/>
                <a:gd name="T30" fmla="*/ 273 w 873"/>
                <a:gd name="T31" fmla="*/ 859 h 873"/>
                <a:gd name="T32" fmla="*/ 249 w 873"/>
                <a:gd name="T33" fmla="*/ 841 h 873"/>
                <a:gd name="T34" fmla="*/ 32 w 873"/>
                <a:gd name="T35" fmla="*/ 622 h 873"/>
                <a:gd name="T36" fmla="*/ 14 w 873"/>
                <a:gd name="T37" fmla="*/ 600 h 873"/>
                <a:gd name="T38" fmla="*/ 2 w 873"/>
                <a:gd name="T39" fmla="*/ 574 h 873"/>
                <a:gd name="T40" fmla="*/ 0 w 873"/>
                <a:gd name="T41" fmla="*/ 546 h 873"/>
                <a:gd name="T42" fmla="*/ 2 w 873"/>
                <a:gd name="T43" fmla="*/ 518 h 873"/>
                <a:gd name="T44" fmla="*/ 14 w 873"/>
                <a:gd name="T45" fmla="*/ 492 h 873"/>
                <a:gd name="T46" fmla="*/ 32 w 873"/>
                <a:gd name="T47" fmla="*/ 468 h 873"/>
                <a:gd name="T48" fmla="*/ 54 w 873"/>
                <a:gd name="T49" fmla="*/ 451 h 873"/>
                <a:gd name="T50" fmla="*/ 80 w 873"/>
                <a:gd name="T51" fmla="*/ 441 h 873"/>
                <a:gd name="T52" fmla="*/ 107 w 873"/>
                <a:gd name="T53" fmla="*/ 437 h 873"/>
                <a:gd name="T54" fmla="*/ 135 w 873"/>
                <a:gd name="T55" fmla="*/ 441 h 873"/>
                <a:gd name="T56" fmla="*/ 161 w 873"/>
                <a:gd name="T57" fmla="*/ 451 h 873"/>
                <a:gd name="T58" fmla="*/ 185 w 873"/>
                <a:gd name="T59" fmla="*/ 468 h 873"/>
                <a:gd name="T60" fmla="*/ 309 w 873"/>
                <a:gd name="T61" fmla="*/ 592 h 873"/>
                <a:gd name="T62" fmla="*/ 674 w 873"/>
                <a:gd name="T63" fmla="*/ 48 h 873"/>
                <a:gd name="T64" fmla="*/ 692 w 873"/>
                <a:gd name="T65" fmla="*/ 26 h 873"/>
                <a:gd name="T66" fmla="*/ 716 w 873"/>
                <a:gd name="T67" fmla="*/ 10 h 873"/>
                <a:gd name="T68" fmla="*/ 742 w 873"/>
                <a:gd name="T69" fmla="*/ 2 h 873"/>
                <a:gd name="T70" fmla="*/ 770 w 873"/>
                <a:gd name="T71" fmla="*/ 0 h 8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873" h="873">
                  <a:moveTo>
                    <a:pt x="770" y="0"/>
                  </a:moveTo>
                  <a:lnTo>
                    <a:pt x="797" y="4"/>
                  </a:lnTo>
                  <a:lnTo>
                    <a:pt x="825" y="18"/>
                  </a:lnTo>
                  <a:lnTo>
                    <a:pt x="847" y="36"/>
                  </a:lnTo>
                  <a:lnTo>
                    <a:pt x="861" y="60"/>
                  </a:lnTo>
                  <a:lnTo>
                    <a:pt x="871" y="88"/>
                  </a:lnTo>
                  <a:lnTo>
                    <a:pt x="873" y="116"/>
                  </a:lnTo>
                  <a:lnTo>
                    <a:pt x="867" y="144"/>
                  </a:lnTo>
                  <a:lnTo>
                    <a:pt x="855" y="169"/>
                  </a:lnTo>
                  <a:lnTo>
                    <a:pt x="419" y="825"/>
                  </a:lnTo>
                  <a:lnTo>
                    <a:pt x="397" y="849"/>
                  </a:lnTo>
                  <a:lnTo>
                    <a:pt x="369" y="865"/>
                  </a:lnTo>
                  <a:lnTo>
                    <a:pt x="337" y="873"/>
                  </a:lnTo>
                  <a:lnTo>
                    <a:pt x="327" y="873"/>
                  </a:lnTo>
                  <a:lnTo>
                    <a:pt x="299" y="869"/>
                  </a:lnTo>
                  <a:lnTo>
                    <a:pt x="273" y="859"/>
                  </a:lnTo>
                  <a:lnTo>
                    <a:pt x="249" y="841"/>
                  </a:lnTo>
                  <a:lnTo>
                    <a:pt x="32" y="622"/>
                  </a:lnTo>
                  <a:lnTo>
                    <a:pt x="14" y="600"/>
                  </a:lnTo>
                  <a:lnTo>
                    <a:pt x="2" y="574"/>
                  </a:lnTo>
                  <a:lnTo>
                    <a:pt x="0" y="546"/>
                  </a:lnTo>
                  <a:lnTo>
                    <a:pt x="2" y="518"/>
                  </a:lnTo>
                  <a:lnTo>
                    <a:pt x="14" y="492"/>
                  </a:lnTo>
                  <a:lnTo>
                    <a:pt x="32" y="468"/>
                  </a:lnTo>
                  <a:lnTo>
                    <a:pt x="54" y="451"/>
                  </a:lnTo>
                  <a:lnTo>
                    <a:pt x="80" y="441"/>
                  </a:lnTo>
                  <a:lnTo>
                    <a:pt x="107" y="437"/>
                  </a:lnTo>
                  <a:lnTo>
                    <a:pt x="135" y="441"/>
                  </a:lnTo>
                  <a:lnTo>
                    <a:pt x="161" y="451"/>
                  </a:lnTo>
                  <a:lnTo>
                    <a:pt x="185" y="468"/>
                  </a:lnTo>
                  <a:lnTo>
                    <a:pt x="309" y="592"/>
                  </a:lnTo>
                  <a:lnTo>
                    <a:pt x="674" y="48"/>
                  </a:lnTo>
                  <a:lnTo>
                    <a:pt x="692" y="26"/>
                  </a:lnTo>
                  <a:lnTo>
                    <a:pt x="716" y="10"/>
                  </a:lnTo>
                  <a:lnTo>
                    <a:pt x="742" y="2"/>
                  </a:lnTo>
                  <a:lnTo>
                    <a:pt x="770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9674137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0" y="3568050"/>
            <a:ext cx="9144000" cy="736822"/>
          </a:xfrm>
          <a:solidFill>
            <a:schemeClr val="accent5"/>
          </a:solidFill>
        </p:spPr>
        <p:txBody>
          <a:bodyPr anchor="ctr"/>
          <a:lstStyle/>
          <a:p>
            <a:pPr algn="ctr"/>
            <a:r>
              <a:rPr lang="cs-CZ" dirty="0" err="1" smtClean="0">
                <a:solidFill>
                  <a:schemeClr val="bg1"/>
                </a:solidFill>
              </a:rPr>
              <a:t>Development</a:t>
            </a:r>
            <a:r>
              <a:rPr lang="cs-CZ" dirty="0" smtClean="0">
                <a:solidFill>
                  <a:schemeClr val="bg1"/>
                </a:solidFill>
              </a:rPr>
              <a:t> update</a:t>
            </a:r>
            <a:endParaRPr lang="cs-CZ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90251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7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 %1 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2&quot;&gt;&lt;elem m_fUsage=&quot;1.00000000000000000000E+000&quot;&gt;&lt;m_msothmcolidx val=&quot;0&quot;/&gt;&lt;m_rgb r=&quot;9D&quot; g=&quot;CA&quot; b=&quot;A5&quot;/&gt;&lt;m_nBrightness val=&quot;0&quot;/&gt;&lt;/elem&gt;&lt;elem m_fUsage=&quot;9.00000000000000020000E-001&quot;&gt;&lt;m_msothmcolidx val=&quot;0&quot;/&gt;&lt;m_rgb r=&quot;4A&quot; g=&quot;7C&quot; b=&quot;CE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c2na_mRq6EFH.G1DV8L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qlpvKdTe63nOdcsBeXt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YoDxLJ8SnSAvSraKwHnB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0OBhbxR8KvnrqKdm.Rh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IAMl5GRHOVU1DuLJ2Ph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E3bsnfREyOslu6yozVb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qHPqSkQEuCLig2bskjT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l8cJQtRc2Bke_zN48vI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OPXCYdQYaAiNgpG0pIr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RwAOeiSdmUJCWxfulJB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mppPObSYOgvDvYy6UiX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c2na_mRq6EFH.G1DV8L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ln5OreTLaeSzbdLj_29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oG4c1ETlipRuj1ggiSD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JAIznqTrmuPZlchV6rL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3kbXp6QbCsioVB2R2Tz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VxPqbIyRuKXe2Pg8Dlrx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c2na_mRq6EFH.G1DV8L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6iIbb0pTCee9eMuHfJ3o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3tX9vJFREi3KHqdXCDw_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w_Co4tQpe9IoaJfoxFL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2VBRpf2Se.02XnamfyYx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4fytDGRSuWmWzeRka1b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Dsd9DVgTYef0ZuNwilQL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Ua9Aa6SsS.MsBCSg2_x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p7Y8y4TyCywlPGnbmB9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rCmYWHQk24wV41OCay1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CIDe4QEm29JW1U06wb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32_m94USoWB9LEmMqHGX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USXttzSXevQ8E0fVqdt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He4YnEQDCvAPDc9nNMv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4tu0AcQRO5S6GG9sryu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0LkH6tWQR2jy6UKt7MBO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6FzF59T5urBhaZxYI0C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F1fLpG3QQyUB3jsuhQaP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B5aYEcfQ.S8YrGpveqUg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U2F7mwTqCNk4qxAMWSl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yH9FkvQMuzNpWiiGPQw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KexX8eRvSy43cKyOgqJ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SRi4NQTbucaxm1Sbezw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7EDOn_qSBqBFHkzzTAdH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9ku5qQbTJu2JarN3Qaru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GFzSh7Rf.tKewYdsidI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9JXvkNSmS0v4VqFI3Mo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qXBRr4SaWWH03udNOPV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rMfQ2ARQ2ZjvFF5VViU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E_9s_PQvOQJTdAPTXQ3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2YnTjpTGGzWpXcuYwmD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A8uPpTRVaooVBghxMkG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FVQ73uQbG33oxTIgvjZ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QKK78HTSmyvRflyRXoK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X9iG.x5TbyDP0oNpZhaF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lGvVHwTv.0cPSPrZjNk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9uNL0xGTEq5EfLpXSU1i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NzzCyGRdCQKtsOo3ERj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P5MIh4RnqQOR28._w5V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0JleiuQdGfmWMdnfo6j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D8cuFs9RRa51X09y3_9h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PomxLAQHiGELBNhiVEc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.1Oo5glSm2VNL_1ZaiNu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ekT278SZOk3LTxXGq2U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aA6tSER1G4Hl2O_rn6S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P5CUh2SiSG82qUcN5Va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0TXrRuSTiOiW_5KaWmWN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HK.lA6QKG1Ko4fTfZK5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uALU7vR5i4O1LGaMxi0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Am6C4kQ4SUVhrpXKEX_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3qfk2MlSi.G6p7UyQO6_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HjNCbBSWaHBC_sLoHn8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rtSj4ERkCymp9.gYSUB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7I_pEJjT1qM1E_P4Bdan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YM33k_SN.bLfvE2uo9p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RkxZ00NQ6q9TqujYUhUX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RxDa.mQhi3ELXy2fz2F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vXHjzcjQLuVzOCX2i8F1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uIOI59TSSOKWUspcP6Z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.fhkyDSZ2xn5seGt9Hv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L0qyHzSGWSsk3mDzsJc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0OBhbxR8KvnrqKdm.Rh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fQvGJxRS6.agJDRu2nU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ws.LvpRVOYnucs82bi6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2H4a5I8SFyB_MuUXFoZG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1cKBi3TS6BhMfQ9w_Le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wVyQ7QQ5.P36XlJ6rkb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RTH6VMQgmVpG5AY6irX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QpbhyLQWGBWImV8umah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uIWquIRyWGI0W4u9lq6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uQorAuQNKHlbUpyveU3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cGFY2KmSfeNvifxYGvah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swR4QwScKlUtW0e8XCN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UKCiXPTsCZnFSii0G71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oJZlVISUOkH8yR0ZsCC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vKFt0wRRvClwvE0vAg1v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Epue8UR1SG0dbldFBui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IAMl5GRHOVU1DuLJ2Ph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n7a3g2QRiKXqFnGkYff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TFCElaTrebwDu3vvK5T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c_Ax4XTmKXDVAr3iIRL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O82751Sdu7tOXuxLHFs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KoKmMBSvK7w8qXIigs3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OihQX_SeWgcJ6yTEw5Z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v8804iT8ef1D__ikVhY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mt_ZD2TNKLswSxQ2uoT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D9mkvYTTLmUZ8lXDKUt.w"/>
</p:tagLst>
</file>

<file path=ppt/theme/theme1.xml><?xml version="1.0" encoding="utf-8"?>
<a:theme xmlns:a="http://schemas.openxmlformats.org/drawingml/2006/main" name="PowerPoint_CS">
  <a:themeElements>
    <a:clrScheme name="Motiv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Technika">
      <a:majorFont>
        <a:latin typeface="Technika-Bold"/>
        <a:ea typeface=""/>
        <a:cs typeface=""/>
      </a:majorFont>
      <a:minorFont>
        <a:latin typeface="Technika"/>
        <a:ea typeface=""/>
        <a:cs typeface=""/>
      </a:minorFont>
    </a:fontScheme>
    <a:fmtScheme name="Motiv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owerPoint CZ.potx" id="{1BD4F44E-F71F-4A14-9EF9-FF6613634235}" vid="{496B007D-76DB-4922-86C8-13F7F6C54EC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owerPoint_CS</Template>
  <TotalTime>7214</TotalTime>
  <Words>373</Words>
  <Application>Microsoft Office PowerPoint</Application>
  <PresentationFormat>On-screen Show (4:3)</PresentationFormat>
  <Paragraphs>217</Paragraphs>
  <Slides>1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1" baseType="lpstr">
      <vt:lpstr>Technika</vt:lpstr>
      <vt:lpstr>Arial</vt:lpstr>
      <vt:lpstr>Calibri</vt:lpstr>
      <vt:lpstr>Technika-Bold</vt:lpstr>
      <vt:lpstr>PowerPoint_CS</vt:lpstr>
      <vt:lpstr>think-cell Slide</vt:lpstr>
      <vt:lpstr>Project CASA: Status update – week 11</vt:lpstr>
      <vt:lpstr>Goals for this Meeting</vt:lpstr>
      <vt:lpstr>Project team assesment</vt:lpstr>
      <vt:lpstr>Project Team Update</vt:lpstr>
      <vt:lpstr>Project status overview</vt:lpstr>
      <vt:lpstr>Project is being steadily updated…</vt:lpstr>
      <vt:lpstr>…and we are still within planned schedule</vt:lpstr>
      <vt:lpstr>Today we need to:</vt:lpstr>
      <vt:lpstr>Development update</vt:lpstr>
      <vt:lpstr>Development progress</vt:lpstr>
      <vt:lpstr>Full Project View: Last meeting (20.4.2017)</vt:lpstr>
      <vt:lpstr>Full Project View: Current status (4.5.2017)</vt:lpstr>
      <vt:lpstr>Testing update</vt:lpstr>
      <vt:lpstr>High-level View</vt:lpstr>
      <vt:lpstr>Unit testing overview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rek</dc:creator>
  <cp:lastModifiedBy>Marek</cp:lastModifiedBy>
  <cp:revision>114</cp:revision>
  <cp:lastPrinted>2017-03-01T18:10:55Z</cp:lastPrinted>
  <dcterms:created xsi:type="dcterms:W3CDTF">2016-12-15T15:45:09Z</dcterms:created>
  <dcterms:modified xsi:type="dcterms:W3CDTF">2017-05-03T10:28:41Z</dcterms:modified>
</cp:coreProperties>
</file>